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4"/>
  </p:sldMasterIdLst>
  <p:notesMasterIdLst>
    <p:notesMasterId r:id="rId9"/>
  </p:notesMasterIdLst>
  <p:sldIdLst>
    <p:sldId id="320" r:id="rId5"/>
    <p:sldId id="321" r:id="rId6"/>
    <p:sldId id="322" r:id="rId7"/>
    <p:sldId id="323" r:id="rId8"/>
  </p:sldIdLst>
  <p:sldSz cx="9901238" cy="6858000"/>
  <p:notesSz cx="6743700" cy="98806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974">
          <p15:clr>
            <a:srgbClr val="A4A3A4"/>
          </p15:clr>
        </p15:guide>
        <p15:guide id="2" orient="horz" pos="2614">
          <p15:clr>
            <a:srgbClr val="A4A3A4"/>
          </p15:clr>
        </p15:guide>
        <p15:guide id="3" orient="horz" pos="1253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pos="6111">
          <p15:clr>
            <a:srgbClr val="A4A3A4"/>
          </p15:clr>
        </p15:guide>
        <p15:guide id="7" pos="4615">
          <p15:clr>
            <a:srgbClr val="A4A3A4"/>
          </p15:clr>
        </p15:guide>
        <p15:guide id="8" pos="3119">
          <p15:clr>
            <a:srgbClr val="A4A3A4"/>
          </p15:clr>
        </p15:guide>
        <p15:guide id="9" pos="1622">
          <p15:clr>
            <a:srgbClr val="A4A3A4"/>
          </p15:clr>
        </p15:guide>
        <p15:guide id="10" pos="126">
          <p15:clr>
            <a:srgbClr val="A4A3A4"/>
          </p15:clr>
        </p15:guide>
        <p15:guide id="11" pos="2121">
          <p15:clr>
            <a:srgbClr val="A4A3A4"/>
          </p15:clr>
        </p15:guide>
        <p15:guide id="12" pos="4116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46973"/>
    <a:srgbClr val="F20000"/>
    <a:srgbClr val="FFB3B3"/>
    <a:srgbClr val="8CB90F"/>
    <a:srgbClr val="FF0000"/>
    <a:srgbClr val="FDF6B1"/>
    <a:srgbClr val="004BB4"/>
    <a:srgbClr val="E67800"/>
    <a:srgbClr val="F0CD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66" autoAdjust="0"/>
    <p:restoredTop sz="94051" autoAdjust="0"/>
  </p:normalViewPr>
  <p:slideViewPr>
    <p:cSldViewPr>
      <p:cViewPr varScale="1">
        <p:scale>
          <a:sx n="100" d="100"/>
          <a:sy n="100" d="100"/>
        </p:scale>
        <p:origin x="-869" y="-77"/>
      </p:cViewPr>
      <p:guideLst>
        <p:guide orient="horz" pos="3974"/>
        <p:guide orient="horz" pos="2614"/>
        <p:guide orient="horz" pos="1253"/>
        <p:guide orient="horz" pos="1117"/>
        <p:guide orient="horz" pos="890"/>
        <p:guide pos="6111"/>
        <p:guide pos="4615"/>
        <p:guide pos="3119"/>
        <p:guide pos="1622"/>
        <p:guide pos="126"/>
        <p:guide pos="2121"/>
        <p:guide pos="411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>
      <p:cViewPr varScale="1">
        <p:scale>
          <a:sx n="54" d="100"/>
          <a:sy n="54" d="100"/>
        </p:scale>
        <p:origin x="-2538" y="-84"/>
      </p:cViewPr>
      <p:guideLst>
        <p:guide orient="horz" pos="3112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68263" y="0"/>
            <a:ext cx="7129463" cy="4940300"/>
          </a:xfrm>
          <a:prstGeom prst="rect">
            <a:avLst/>
          </a:prstGeom>
          <a:noFill/>
          <a:ln w="12700">
            <a:noFill/>
          </a:ln>
        </p:spPr>
        <p:txBody>
          <a:bodyPr vert="horz" lIns="90885" tIns="45443" rIns="90885" bIns="45443" rtlCol="0" anchor="ctr"/>
          <a:lstStyle/>
          <a:p>
            <a:r>
              <a:rPr lang="de-DE" dirty="0"/>
              <a:t>f</a:t>
            </a: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249768" y="5434331"/>
            <a:ext cx="6321018" cy="3876236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19870" y="9671588"/>
            <a:ext cx="2922270" cy="207298"/>
          </a:xfrm>
          <a:prstGeom prst="rect">
            <a:avLst/>
          </a:prstGeom>
        </p:spPr>
        <p:txBody>
          <a:bodyPr vert="horz" lIns="90885" tIns="45443" rIns="90885" bIns="45443" rtlCol="0" anchor="b"/>
          <a:lstStyle>
            <a:lvl1pPr algn="r">
              <a:defRPr sz="1000" b="1">
                <a:latin typeface="DB Office" pitchFamily="34" charset="0"/>
              </a:defRPr>
            </a:lvl1pPr>
          </a:lstStyle>
          <a:p>
            <a:fld id="{AB1E1A1F-7B51-4F6B-A0A6-8D7DEE98D43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249768" y="9519579"/>
            <a:ext cx="6493933" cy="4940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885" tIns="45443" rIns="90885" bIns="45443" rtlCol="0" anchor="ctr"/>
          <a:lstStyle/>
          <a:p>
            <a:pPr algn="ctr"/>
            <a:endParaRPr lang="de-DE"/>
          </a:p>
        </p:txBody>
      </p:sp>
      <p:cxnSp>
        <p:nvCxnSpPr>
          <p:cNvPr id="11" name="Gerade Verbindung 10"/>
          <p:cNvCxnSpPr/>
          <p:nvPr/>
        </p:nvCxnSpPr>
        <p:spPr>
          <a:xfrm>
            <a:off x="249768" y="5168312"/>
            <a:ext cx="6493933" cy="0"/>
          </a:xfrm>
          <a:prstGeom prst="line">
            <a:avLst/>
          </a:prstGeom>
          <a:ln w="19050">
            <a:solidFill>
              <a:schemeClr val="bg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46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itchFamily="34" charset="0"/>
      <a:buNone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1pPr>
    <a:lvl2pPr marL="180975" indent="-171450" algn="l" defTabSz="914400" rtl="0" eaLnBrk="1" latinLnBrk="0" hangingPunct="1">
      <a:spcBef>
        <a:spcPts val="600"/>
      </a:spcBef>
      <a:buClr>
        <a:schemeClr val="bg2"/>
      </a:buClr>
      <a:buFont typeface="Arial" pitchFamily="34" charset="0"/>
      <a:buChar char="•"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2pPr>
    <a:lvl3pPr marL="361950" indent="-161925" algn="l" defTabSz="914400" rtl="0" eaLnBrk="1" latinLnBrk="0" hangingPunct="1">
      <a:buClr>
        <a:schemeClr val="bg2"/>
      </a:buClr>
      <a:buFont typeface="Arial" pitchFamily="34" charset="0"/>
      <a:buChar char="•"/>
      <a:tabLst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3pPr>
    <a:lvl4pPr marL="542925" indent="-171450" algn="l" defTabSz="914400" rtl="0" eaLnBrk="1" latinLnBrk="0" hangingPunct="1">
      <a:buClr>
        <a:schemeClr val="bg2"/>
      </a:buClr>
      <a:buFont typeface="Arial" pitchFamily="34" charset="0"/>
      <a:buChar char="•"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4pPr>
    <a:lvl5pPr marL="714375" indent="-171450" algn="l" defTabSz="914400" rtl="0" eaLnBrk="1" latinLnBrk="0" hangingPunct="1">
      <a:buClr>
        <a:schemeClr val="bg2"/>
      </a:buClr>
      <a:buFont typeface="Arial" pitchFamily="34" charset="0"/>
      <a:buChar char="•"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 hidden="1"/>
          <p:cNvSpPr>
            <a:spLocks noGrp="1"/>
          </p:cNvSpPr>
          <p:nvPr>
            <p:ph type="subTitle" idx="1"/>
          </p:nvPr>
        </p:nvSpPr>
        <p:spPr>
          <a:xfrm>
            <a:off x="0" y="0"/>
            <a:ext cx="36000" cy="36000"/>
          </a:xfrm>
        </p:spPr>
        <p:txBody>
          <a:bodyPr/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pic>
        <p:nvPicPr>
          <p:cNvPr id="15" name="TW_PICTURE_PLACEHOLDER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92970"/>
            <a:ext cx="9901238" cy="25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>
          <a:xfrm>
            <a:off x="199929" y="4367035"/>
            <a:ext cx="9501380" cy="863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b="1" kern="1200" dirty="0">
                <a:solidFill>
                  <a:schemeClr val="tx1"/>
                </a:solidFill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Präsentationstitel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99929" y="5231035"/>
            <a:ext cx="9501380" cy="43021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2400" kern="1200" baseline="0" smtClean="0"/>
            </a:lvl1pPr>
            <a:lvl2pPr>
              <a:defRPr lang="de-DE" kern="1200" smtClean="0">
                <a:ea typeface="+mn-ea"/>
                <a:cs typeface="+mn-cs"/>
              </a:defRPr>
            </a:lvl2pPr>
            <a:lvl3pPr>
              <a:defRPr lang="de-DE" kern="1200" smtClean="0">
                <a:ea typeface="+mn-ea"/>
                <a:cs typeface="+mn-cs"/>
              </a:defRPr>
            </a:lvl3pPr>
            <a:lvl4pPr>
              <a:defRPr lang="de-DE" kern="1200" smtClean="0">
                <a:ea typeface="+mn-ea"/>
                <a:cs typeface="+mn-cs"/>
              </a:defRPr>
            </a:lvl4pPr>
            <a:lvl5pPr>
              <a:defRPr lang="de-DE" kern="1200"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Untertitel eintragen</a:t>
            </a:r>
          </a:p>
        </p:txBody>
      </p:sp>
      <p:grpSp>
        <p:nvGrpSpPr>
          <p:cNvPr id="20" name="Gruppieren 19"/>
          <p:cNvGrpSpPr/>
          <p:nvPr userDrawn="1"/>
        </p:nvGrpSpPr>
        <p:grpSpPr>
          <a:xfrm>
            <a:off x="0" y="3212475"/>
            <a:ext cx="9901238" cy="540000"/>
            <a:chOff x="0" y="4653170"/>
            <a:chExt cx="9901238" cy="540000"/>
          </a:xfrm>
          <a:solidFill>
            <a:srgbClr val="878C96"/>
          </a:solidFill>
        </p:grpSpPr>
        <p:sp>
          <p:nvSpPr>
            <p:cNvPr id="21" name="Rectangle 18"/>
            <p:cNvSpPr>
              <a:spLocks noChangeArrowheads="1"/>
            </p:cNvSpPr>
            <p:nvPr/>
          </p:nvSpPr>
          <p:spPr bwMode="gray">
            <a:xfrm>
              <a:off x="1" y="4653170"/>
              <a:ext cx="9901237" cy="270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Rectangle 18"/>
            <p:cNvSpPr>
              <a:spLocks noChangeArrowheads="1"/>
            </p:cNvSpPr>
            <p:nvPr/>
          </p:nvSpPr>
          <p:spPr bwMode="gray">
            <a:xfrm>
              <a:off x="0" y="4653170"/>
              <a:ext cx="7470356" cy="540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0" name="Picture 60" descr="DB-NETZE_rgb_M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48" t="-66" r="82" b="-289"/>
          <a:stretch/>
        </p:blipFill>
        <p:spPr bwMode="auto">
          <a:xfrm>
            <a:off x="8135109" y="188550"/>
            <a:ext cx="1567691" cy="37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6120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79372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504000" y="6692901"/>
            <a:ext cx="6894959" cy="9366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 smtClean="0"/>
              <a:t>DB Netz AG | Frankfurt | 09.01.2018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4464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10" Type="http://schemas.openxmlformats.org/officeDocument/2006/relationships/image" Target="../media/image3.png"/><Relationship Id="rId4" Type="http://schemas.openxmlformats.org/officeDocument/2006/relationships/vmlDrawing" Target="../drawings/vmlDrawing1.v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8000" y="403200"/>
            <a:ext cx="9504000" cy="79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1188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Klicken Sie, um das Titelformat zu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8000" y="1557338"/>
            <a:ext cx="9504000" cy="4897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Klicken Sie, um die Formate des Vorlagentextes zu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22147698"/>
              </p:ext>
            </p:extLst>
          </p:nvPr>
        </p:nvGraphicFramePr>
        <p:xfrm>
          <a:off x="0" y="0"/>
          <a:ext cx="15867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2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67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 smtClean="0"/>
              <a:t>DB Netz AG | Frankfurt | 09.01.2018</a:t>
            </a:r>
            <a:endParaRPr lang="de-DE" dirty="0"/>
          </a:p>
        </p:txBody>
      </p:sp>
      <p:pic>
        <p:nvPicPr>
          <p:cNvPr id="9" name="Picture 60" descr="DB-NETZE_rgb_M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48" t="-66" r="82" b="-289"/>
          <a:stretch/>
        </p:blipFill>
        <p:spPr bwMode="auto">
          <a:xfrm>
            <a:off x="8135109" y="188550"/>
            <a:ext cx="1567691" cy="37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3" descr="D:\Users\mathiasmrichter\AppData\Local\Temp\wz10aa\DB_rgb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871" y="188550"/>
            <a:ext cx="536826" cy="376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altLang="de-DE" sz="2400" b="0" dirty="0">
          <a:solidFill>
            <a:schemeClr val="tx2"/>
          </a:solidFill>
          <a:latin typeface="DB Office" panose="020B060402020202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ct val="0"/>
        </a:spcAft>
        <a:defRPr lang="de-DE" altLang="de-DE" sz="1600" dirty="0">
          <a:solidFill>
            <a:schemeClr val="tx1"/>
          </a:solidFill>
          <a:latin typeface="DB Office" panose="020B0604020202020204" pitchFamily="34" charset="0"/>
          <a:ea typeface="+mn-ea"/>
          <a:cs typeface="+mn-cs"/>
        </a:defRPr>
      </a:lvl1pPr>
      <a:lvl2pPr marL="18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SzPct val="85000"/>
        <a:buFont typeface="Wingdings" pitchFamily="2" charset="2"/>
        <a:buChar char="n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2pPr>
      <a:lvl3pPr marL="358775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3pPr>
      <a:lvl4pPr marL="54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4pPr>
      <a:lvl5pPr marL="72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5pPr>
      <a:lvl6pPr marL="11858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6pPr>
      <a:lvl7pPr marL="16430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7pPr>
      <a:lvl8pPr marL="21002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8pPr>
      <a:lvl9pPr marL="25574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chenbeispiel SAT-ganzjährig (</a:t>
            </a:r>
            <a:r>
              <a:rPr lang="de-DE" dirty="0" smtClean="0"/>
              <a:t>1/4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DB Netz AG | Frankfurt | 09.01.2018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de-DE" dirty="0"/>
          </a:p>
        </p:txBody>
      </p:sp>
      <p:sp>
        <p:nvSpPr>
          <p:cNvPr id="21" name="Ellipse 20"/>
          <p:cNvSpPr/>
          <p:nvPr/>
        </p:nvSpPr>
        <p:spPr bwMode="auto">
          <a:xfrm>
            <a:off x="1448802" y="1988786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Q</a:t>
            </a:r>
          </a:p>
        </p:txBody>
      </p:sp>
      <p:sp>
        <p:nvSpPr>
          <p:cNvPr id="23" name="Ellipse 22"/>
          <p:cNvSpPr/>
          <p:nvPr/>
        </p:nvSpPr>
        <p:spPr bwMode="auto">
          <a:xfrm>
            <a:off x="6836390" y="1423018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4" name="Ellipse 23"/>
          <p:cNvSpPr/>
          <p:nvPr/>
        </p:nvSpPr>
        <p:spPr bwMode="auto">
          <a:xfrm>
            <a:off x="5341977" y="1423018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5" name="Ellipse 24"/>
          <p:cNvSpPr/>
          <p:nvPr/>
        </p:nvSpPr>
        <p:spPr bwMode="auto">
          <a:xfrm>
            <a:off x="3775556" y="1423018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6" name="Ellipse 25"/>
          <p:cNvSpPr/>
          <p:nvPr/>
        </p:nvSpPr>
        <p:spPr bwMode="auto">
          <a:xfrm>
            <a:off x="2473682" y="1423018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29" name="Gerade Verbindung mit Pfeil 28"/>
          <p:cNvCxnSpPr>
            <a:stCxn id="21" idx="7"/>
            <a:endCxn id="26" idx="2"/>
          </p:cNvCxnSpPr>
          <p:nvPr/>
        </p:nvCxnSpPr>
        <p:spPr bwMode="auto">
          <a:xfrm flipV="1">
            <a:off x="1694653" y="1567034"/>
            <a:ext cx="779029" cy="463933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 Verbindung mit Pfeil 29"/>
          <p:cNvCxnSpPr>
            <a:stCxn id="26" idx="6"/>
            <a:endCxn id="25" idx="2"/>
          </p:cNvCxnSpPr>
          <p:nvPr/>
        </p:nvCxnSpPr>
        <p:spPr bwMode="auto">
          <a:xfrm>
            <a:off x="2761714" y="1567034"/>
            <a:ext cx="1013842" cy="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 Verbindung mit Pfeil 30"/>
          <p:cNvCxnSpPr>
            <a:stCxn id="25" idx="6"/>
            <a:endCxn id="24" idx="2"/>
          </p:cNvCxnSpPr>
          <p:nvPr/>
        </p:nvCxnSpPr>
        <p:spPr bwMode="auto">
          <a:xfrm>
            <a:off x="4063588" y="1567034"/>
            <a:ext cx="1278389" cy="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Gerade Verbindung mit Pfeil 31"/>
          <p:cNvCxnSpPr>
            <a:stCxn id="24" idx="6"/>
            <a:endCxn id="23" idx="2"/>
          </p:cNvCxnSpPr>
          <p:nvPr/>
        </p:nvCxnSpPr>
        <p:spPr bwMode="auto">
          <a:xfrm>
            <a:off x="5630009" y="1567034"/>
            <a:ext cx="1206381" cy="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5" name="Ellipse 44"/>
          <p:cNvSpPr/>
          <p:nvPr/>
        </p:nvSpPr>
        <p:spPr bwMode="auto">
          <a:xfrm>
            <a:off x="6836390" y="2555452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46" name="Ellipse 45"/>
          <p:cNvSpPr/>
          <p:nvPr/>
        </p:nvSpPr>
        <p:spPr bwMode="auto">
          <a:xfrm>
            <a:off x="5341977" y="2555452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47" name="Ellipse 46"/>
          <p:cNvSpPr/>
          <p:nvPr/>
        </p:nvSpPr>
        <p:spPr bwMode="auto">
          <a:xfrm>
            <a:off x="3775556" y="2555452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49" name="Ellipse 48"/>
          <p:cNvSpPr/>
          <p:nvPr/>
        </p:nvSpPr>
        <p:spPr bwMode="auto">
          <a:xfrm>
            <a:off x="2473682" y="2555452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52" name="Gerade Verbindung mit Pfeil 51"/>
          <p:cNvCxnSpPr>
            <a:stCxn id="49" idx="6"/>
            <a:endCxn id="47" idx="2"/>
          </p:cNvCxnSpPr>
          <p:nvPr/>
        </p:nvCxnSpPr>
        <p:spPr bwMode="auto">
          <a:xfrm>
            <a:off x="2761714" y="2699468"/>
            <a:ext cx="1013842" cy="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Gerade Verbindung mit Pfeil 52"/>
          <p:cNvCxnSpPr>
            <a:stCxn id="47" idx="6"/>
            <a:endCxn id="46" idx="2"/>
          </p:cNvCxnSpPr>
          <p:nvPr/>
        </p:nvCxnSpPr>
        <p:spPr bwMode="auto">
          <a:xfrm>
            <a:off x="4063588" y="2699468"/>
            <a:ext cx="1278389" cy="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Gerade Verbindung mit Pfeil 53"/>
          <p:cNvCxnSpPr>
            <a:stCxn id="46" idx="6"/>
            <a:endCxn id="45" idx="2"/>
          </p:cNvCxnSpPr>
          <p:nvPr/>
        </p:nvCxnSpPr>
        <p:spPr bwMode="auto">
          <a:xfrm>
            <a:off x="5630009" y="2699468"/>
            <a:ext cx="1206381" cy="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Gerade Verbindung mit Pfeil 56"/>
          <p:cNvCxnSpPr>
            <a:stCxn id="21" idx="5"/>
            <a:endCxn id="49" idx="2"/>
          </p:cNvCxnSpPr>
          <p:nvPr/>
        </p:nvCxnSpPr>
        <p:spPr bwMode="auto">
          <a:xfrm>
            <a:off x="1694653" y="2234637"/>
            <a:ext cx="779029" cy="464831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9" name="Textfeld 58"/>
          <p:cNvSpPr txBox="1"/>
          <p:nvPr/>
        </p:nvSpPr>
        <p:spPr>
          <a:xfrm>
            <a:off x="1494235" y="1555657"/>
            <a:ext cx="58427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 smtClean="0"/>
              <a:t>0 min</a:t>
            </a:r>
          </a:p>
        </p:txBody>
      </p:sp>
      <p:sp>
        <p:nvSpPr>
          <p:cNvPr id="60" name="Textfeld 59"/>
          <p:cNvSpPr txBox="1"/>
          <p:nvPr/>
        </p:nvSpPr>
        <p:spPr>
          <a:xfrm>
            <a:off x="1448802" y="2552438"/>
            <a:ext cx="70429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 smtClean="0"/>
              <a:t>10 min</a:t>
            </a:r>
          </a:p>
        </p:txBody>
      </p:sp>
      <p:sp>
        <p:nvSpPr>
          <p:cNvPr id="61" name="Textfeld 60"/>
          <p:cNvSpPr txBox="1"/>
          <p:nvPr/>
        </p:nvSpPr>
        <p:spPr>
          <a:xfrm>
            <a:off x="2934395" y="1315296"/>
            <a:ext cx="60472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 smtClean="0"/>
              <a:t>15 min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4309468" y="1315296"/>
            <a:ext cx="64115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 smtClean="0"/>
              <a:t>10 min</a:t>
            </a:r>
          </a:p>
        </p:txBody>
      </p:sp>
      <p:sp>
        <p:nvSpPr>
          <p:cNvPr id="66" name="Textfeld 65"/>
          <p:cNvSpPr txBox="1"/>
          <p:nvPr/>
        </p:nvSpPr>
        <p:spPr>
          <a:xfrm>
            <a:off x="2970341" y="2463186"/>
            <a:ext cx="68413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 smtClean="0"/>
              <a:t>15 min</a:t>
            </a:r>
          </a:p>
        </p:txBody>
      </p:sp>
      <p:sp>
        <p:nvSpPr>
          <p:cNvPr id="70" name="Textfeld 69"/>
          <p:cNvSpPr txBox="1"/>
          <p:nvPr/>
        </p:nvSpPr>
        <p:spPr>
          <a:xfrm>
            <a:off x="2833723" y="1583763"/>
            <a:ext cx="74874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400" b="1" dirty="0" smtClean="0"/>
              <a:t>s</a:t>
            </a:r>
            <a:r>
              <a:rPr lang="de-DE" sz="1400" b="1" baseline="-25000" dirty="0" smtClean="0"/>
              <a:t>1</a:t>
            </a:r>
            <a:br>
              <a:rPr lang="de-DE" sz="1400" b="1" baseline="-25000" dirty="0" smtClean="0"/>
            </a:br>
            <a:r>
              <a:rPr lang="de-DE" sz="1400" b="1" dirty="0" smtClean="0"/>
              <a:t>(1,1,0,0)</a:t>
            </a:r>
          </a:p>
        </p:txBody>
      </p:sp>
      <p:sp>
        <p:nvSpPr>
          <p:cNvPr id="73" name="Ellipse 72"/>
          <p:cNvSpPr/>
          <p:nvPr/>
        </p:nvSpPr>
        <p:spPr bwMode="auto">
          <a:xfrm>
            <a:off x="7830939" y="1989235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S</a:t>
            </a:r>
          </a:p>
        </p:txBody>
      </p:sp>
      <p:cxnSp>
        <p:nvCxnSpPr>
          <p:cNvPr id="74" name="Gerade Verbindung mit Pfeil 73"/>
          <p:cNvCxnSpPr>
            <a:stCxn id="23" idx="6"/>
            <a:endCxn id="73" idx="1"/>
          </p:cNvCxnSpPr>
          <p:nvPr/>
        </p:nvCxnSpPr>
        <p:spPr bwMode="auto">
          <a:xfrm>
            <a:off x="7124422" y="1567034"/>
            <a:ext cx="748698" cy="464382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3" name="Gerade Verbindung mit Pfeil 82"/>
          <p:cNvCxnSpPr>
            <a:stCxn id="45" idx="7"/>
            <a:endCxn id="73" idx="2"/>
          </p:cNvCxnSpPr>
          <p:nvPr/>
        </p:nvCxnSpPr>
        <p:spPr bwMode="auto">
          <a:xfrm flipV="1">
            <a:off x="7082241" y="2133251"/>
            <a:ext cx="748698" cy="464382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8" name="Textfeld 87"/>
          <p:cNvSpPr txBox="1"/>
          <p:nvPr/>
        </p:nvSpPr>
        <p:spPr>
          <a:xfrm>
            <a:off x="7442741" y="2408708"/>
            <a:ext cx="60980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 smtClean="0"/>
              <a:t>0 min</a:t>
            </a:r>
          </a:p>
        </p:txBody>
      </p:sp>
      <p:cxnSp>
        <p:nvCxnSpPr>
          <p:cNvPr id="92" name="Gerade Verbindung mit Pfeil 91"/>
          <p:cNvCxnSpPr>
            <a:stCxn id="47" idx="7"/>
            <a:endCxn id="24" idx="3"/>
          </p:cNvCxnSpPr>
          <p:nvPr/>
        </p:nvCxnSpPr>
        <p:spPr bwMode="auto">
          <a:xfrm flipV="1">
            <a:off x="4021407" y="1668869"/>
            <a:ext cx="1362751" cy="928764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8" name="Textfeld 97"/>
          <p:cNvSpPr txBox="1"/>
          <p:nvPr/>
        </p:nvSpPr>
        <p:spPr>
          <a:xfrm>
            <a:off x="2843248" y="2716712"/>
            <a:ext cx="74874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400" b="1" dirty="0" smtClean="0"/>
              <a:t>s</a:t>
            </a:r>
            <a:r>
              <a:rPr lang="de-DE" sz="1400" b="1" baseline="-25000" dirty="0" smtClean="0"/>
              <a:t>2</a:t>
            </a:r>
            <a:br>
              <a:rPr lang="de-DE" sz="1400" b="1" baseline="-25000" dirty="0" smtClean="0"/>
            </a:br>
            <a:r>
              <a:rPr lang="de-DE" sz="1400" b="1" dirty="0" smtClean="0"/>
              <a:t>(1,1,1,1)</a:t>
            </a:r>
          </a:p>
        </p:txBody>
      </p:sp>
      <p:sp>
        <p:nvSpPr>
          <p:cNvPr id="99" name="Textfeld 98"/>
          <p:cNvSpPr txBox="1"/>
          <p:nvPr/>
        </p:nvSpPr>
        <p:spPr>
          <a:xfrm>
            <a:off x="4122469" y="1988786"/>
            <a:ext cx="68413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/>
              <a:t>0</a:t>
            </a:r>
            <a:r>
              <a:rPr lang="de-DE" sz="1400" dirty="0" smtClean="0"/>
              <a:t> min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4360715" y="2444344"/>
            <a:ext cx="68413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/>
              <a:t>3</a:t>
            </a:r>
            <a:r>
              <a:rPr lang="de-DE" sz="1400" dirty="0" smtClean="0"/>
              <a:t>0 mi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5930835" y="1315296"/>
            <a:ext cx="60472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 smtClean="0"/>
              <a:t>15 min</a:t>
            </a:r>
          </a:p>
        </p:txBody>
      </p:sp>
      <p:sp>
        <p:nvSpPr>
          <p:cNvPr id="102" name="Textfeld 101"/>
          <p:cNvSpPr txBox="1"/>
          <p:nvPr/>
        </p:nvSpPr>
        <p:spPr>
          <a:xfrm>
            <a:off x="5966781" y="2463186"/>
            <a:ext cx="68413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 smtClean="0"/>
              <a:t>15 min</a:t>
            </a:r>
          </a:p>
        </p:txBody>
      </p:sp>
      <p:sp>
        <p:nvSpPr>
          <p:cNvPr id="103" name="Textfeld 102"/>
          <p:cNvSpPr txBox="1"/>
          <p:nvPr/>
        </p:nvSpPr>
        <p:spPr>
          <a:xfrm>
            <a:off x="5830163" y="1583763"/>
            <a:ext cx="74874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400" b="1" dirty="0" smtClean="0"/>
              <a:t>s</a:t>
            </a:r>
            <a:r>
              <a:rPr lang="de-DE" sz="1400" b="1" baseline="-25000" dirty="0" smtClean="0"/>
              <a:t>3</a:t>
            </a:r>
            <a:br>
              <a:rPr lang="de-DE" sz="1400" b="1" baseline="-25000" dirty="0" smtClean="0"/>
            </a:br>
            <a:r>
              <a:rPr lang="de-DE" sz="1400" b="1" dirty="0" smtClean="0"/>
              <a:t>(1,1,1,1)</a:t>
            </a:r>
          </a:p>
        </p:txBody>
      </p:sp>
      <p:sp>
        <p:nvSpPr>
          <p:cNvPr id="104" name="Textfeld 103"/>
          <p:cNvSpPr txBox="1"/>
          <p:nvPr/>
        </p:nvSpPr>
        <p:spPr>
          <a:xfrm>
            <a:off x="5839688" y="2716712"/>
            <a:ext cx="74874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400" b="1" dirty="0" smtClean="0"/>
              <a:t>s</a:t>
            </a:r>
            <a:r>
              <a:rPr lang="de-DE" sz="1400" b="1" baseline="-25000" dirty="0" smtClean="0"/>
              <a:t>4</a:t>
            </a:r>
            <a:br>
              <a:rPr lang="de-DE" sz="1400" b="1" baseline="-25000" dirty="0" smtClean="0"/>
            </a:br>
            <a:r>
              <a:rPr lang="de-DE" sz="1400" b="1" dirty="0" smtClean="0"/>
              <a:t>(1,1,0,0)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7438028" y="1531814"/>
            <a:ext cx="60980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 smtClean="0"/>
              <a:t>0 mi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06" name="Tabelle 10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01782626"/>
                  </p:ext>
                </p:extLst>
              </p:nvPr>
            </p:nvGraphicFramePr>
            <p:xfrm>
              <a:off x="255291" y="3451054"/>
              <a:ext cx="7760229" cy="1894678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999795"/>
                    <a:gridCol w="1224136"/>
                    <a:gridCol w="1944216"/>
                    <a:gridCol w="2232248"/>
                    <a:gridCol w="648072"/>
                    <a:gridCol w="711762"/>
                  </a:tblGrid>
                  <a:tr h="353341">
                    <a:tc>
                      <a:txBody>
                        <a:bodyPr/>
                        <a:lstStyle/>
                        <a:p>
                          <a:r>
                            <a:rPr lang="de-DE" sz="1400" dirty="0" err="1" smtClean="0"/>
                            <a:t>Fahrlage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Partition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Fahrlagenvariante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Verkehrstages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von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nach</a:t>
                          </a:r>
                          <a:endParaRPr lang="de-DE" sz="1400" dirty="0"/>
                        </a:p>
                      </a:txBody>
                      <a:tcPr anchor="ctr"/>
                    </a:tc>
                  </a:tr>
                  <a:tr h="2171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r</a:t>
                          </a:r>
                          <a:r>
                            <a:rPr lang="de-DE" sz="1400" baseline="-25000" dirty="0" smtClean="0"/>
                            <a:t>1</a:t>
                          </a:r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(1,1,1,1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Q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S</a:t>
                          </a:r>
                          <a:endParaRPr lang="de-DE" sz="1400" dirty="0"/>
                        </a:p>
                      </a:txBody>
                      <a:tcPr anchor="ctr"/>
                    </a:tc>
                  </a:tr>
                  <a:tr h="217120">
                    <a:tc>
                      <a:txBody>
                        <a:bodyPr/>
                        <a:lstStyle/>
                        <a:p>
                          <a:pPr algn="ctr"/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(1,1,0,0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Q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S</a:t>
                          </a:r>
                          <a:endParaRPr lang="de-DE" sz="1400" dirty="0"/>
                        </a:p>
                      </a:txBody>
                      <a:tcPr anchor="ctr"/>
                    </a:tc>
                  </a:tr>
                  <a:tr h="217120">
                    <a:tc>
                      <a:txBody>
                        <a:bodyPr/>
                        <a:lstStyle/>
                        <a:p>
                          <a:pPr algn="ctr"/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(0,0,1,1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Q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S</a:t>
                          </a:r>
                          <a:endParaRPr lang="de-DE" sz="1400" dirty="0"/>
                        </a:p>
                      </a:txBody>
                      <a:tcPr anchor="ctr"/>
                    </a:tc>
                  </a:tr>
                  <a:tr h="2171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r</a:t>
                          </a:r>
                          <a:r>
                            <a:rPr lang="de-DE" sz="1400" baseline="-25000" dirty="0" smtClean="0"/>
                            <a:t>2</a:t>
                          </a:r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(1,1,0,0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Q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S</a:t>
                          </a:r>
                          <a:endParaRPr lang="de-DE" sz="1400" dirty="0"/>
                        </a:p>
                      </a:txBody>
                      <a:tcPr anchor="ctr"/>
                    </a:tc>
                  </a:tr>
                  <a:tr h="2171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r</a:t>
                          </a:r>
                          <a:r>
                            <a:rPr lang="de-DE" sz="1400" baseline="-25000" dirty="0" smtClean="0"/>
                            <a:t>3</a:t>
                          </a:r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(0,0,0,1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Q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S</a:t>
                          </a:r>
                          <a:endParaRPr lang="de-DE" sz="1400" dirty="0"/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106" name="Tabelle 10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01782626"/>
                  </p:ext>
                </p:extLst>
              </p:nvPr>
            </p:nvGraphicFramePr>
            <p:xfrm>
              <a:off x="255291" y="3451054"/>
              <a:ext cx="7760229" cy="1894678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999795"/>
                    <a:gridCol w="1224136"/>
                    <a:gridCol w="1944216"/>
                    <a:gridCol w="2232248"/>
                    <a:gridCol w="648072"/>
                    <a:gridCol w="711762"/>
                  </a:tblGrid>
                  <a:tr h="353341">
                    <a:tc>
                      <a:txBody>
                        <a:bodyPr/>
                        <a:lstStyle/>
                        <a:p>
                          <a:r>
                            <a:rPr lang="de-DE" sz="1400" dirty="0" err="1" smtClean="0"/>
                            <a:t>Fahrlage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Partition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Fahrlagenvariante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Verkehrstagesschlüssel</a:t>
                          </a:r>
                          <a:endParaRPr lang="de-DE" sz="14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von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nach</a:t>
                          </a:r>
                          <a:endParaRPr lang="de-DE" sz="1400" dirty="0"/>
                        </a:p>
                      </a:txBody>
                      <a:tcPr anchor="ctr"/>
                    </a:tc>
                  </a:tr>
                  <a:tr h="30848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r</a:t>
                          </a:r>
                          <a:r>
                            <a:rPr lang="de-DE" sz="1400" baseline="-25000" dirty="0" smtClean="0"/>
                            <a:t>1</a:t>
                          </a:r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82090" t="-113725" r="-451741" b="-41372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4734" t="-113725" r="-184639" b="-41372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(</a:t>
                          </a:r>
                          <a:r>
                            <a:rPr lang="de-DE" sz="1400" dirty="0" smtClean="0"/>
                            <a:t>1,1,1,1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Q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S</a:t>
                          </a:r>
                          <a:endParaRPr lang="de-DE" sz="1400" dirty="0"/>
                        </a:p>
                      </a:txBody>
                      <a:tcPr anchor="ctr"/>
                    </a:tc>
                  </a:tr>
                  <a:tr h="306769">
                    <a:tc>
                      <a:txBody>
                        <a:bodyPr/>
                        <a:lstStyle/>
                        <a:p>
                          <a:pPr algn="ctr"/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82090" t="-218000" r="-451741" b="-322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4734" t="-218000" r="-184639" b="-322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(1,1,0,0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Q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S</a:t>
                          </a:r>
                          <a:endParaRPr lang="de-DE" sz="1400" dirty="0"/>
                        </a:p>
                      </a:txBody>
                      <a:tcPr anchor="ctr"/>
                    </a:tc>
                  </a:tr>
                  <a:tr h="307150">
                    <a:tc>
                      <a:txBody>
                        <a:bodyPr/>
                        <a:lstStyle/>
                        <a:p>
                          <a:pPr algn="ctr"/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4734" t="-318000" r="-184639" b="-222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(0,0,1,1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Q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S</a:t>
                          </a:r>
                          <a:endParaRPr lang="de-DE" sz="1400" dirty="0"/>
                        </a:p>
                      </a:txBody>
                      <a:tcPr anchor="ctr"/>
                    </a:tc>
                  </a:tr>
                  <a:tr h="308928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r</a:t>
                          </a:r>
                          <a:r>
                            <a:rPr lang="de-DE" sz="1400" baseline="-25000" dirty="0" smtClean="0"/>
                            <a:t>2</a:t>
                          </a:r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82090" t="-409804" r="-451741" b="-11764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4734" t="-409804" r="-184639" b="-11764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(1,1,0,0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Q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S</a:t>
                          </a:r>
                          <a:endParaRPr lang="de-DE" sz="1400" dirty="0"/>
                        </a:p>
                      </a:txBody>
                      <a:tcPr anchor="ctr"/>
                    </a:tc>
                  </a:tr>
                  <a:tr h="310007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r</a:t>
                          </a:r>
                          <a:r>
                            <a:rPr lang="de-DE" sz="1400" baseline="-25000" dirty="0" smtClean="0"/>
                            <a:t>3</a:t>
                          </a:r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82090" t="-509804" r="-451741" b="-1764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4734" t="-509804" r="-184639" b="-1764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(0,0,0,1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Q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S</a:t>
                          </a:r>
                          <a:endParaRPr lang="de-DE" sz="1400" dirty="0"/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Fallback>
      </mc:AlternateContent>
      <p:sp>
        <p:nvSpPr>
          <p:cNvPr id="11" name="Geschweifte Klammer links 10"/>
          <p:cNvSpPr/>
          <p:nvPr/>
        </p:nvSpPr>
        <p:spPr bwMode="auto">
          <a:xfrm>
            <a:off x="985736" y="3876231"/>
            <a:ext cx="557381" cy="576064"/>
          </a:xfrm>
          <a:prstGeom prst="leftBrace">
            <a:avLst>
              <a:gd name="adj1" fmla="val 14024"/>
              <a:gd name="adj2" fmla="val 13624"/>
            </a:avLst>
          </a:prstGeom>
          <a:noFill/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7" name="Geschweifte Klammer links 106"/>
          <p:cNvSpPr/>
          <p:nvPr/>
        </p:nvSpPr>
        <p:spPr bwMode="auto">
          <a:xfrm>
            <a:off x="2186953" y="4150521"/>
            <a:ext cx="557381" cy="576064"/>
          </a:xfrm>
          <a:prstGeom prst="leftBrace">
            <a:avLst>
              <a:gd name="adj1" fmla="val 14024"/>
              <a:gd name="adj2" fmla="val 13624"/>
            </a:avLst>
          </a:prstGeom>
          <a:noFill/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feld 12"/>
              <p:cNvSpPr txBox="1"/>
              <p:nvPr/>
            </p:nvSpPr>
            <p:spPr>
              <a:xfrm>
                <a:off x="8169258" y="3902427"/>
                <a:ext cx="1662315" cy="139878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:r>
                  <a:rPr lang="de-DE" sz="1400" dirty="0" smtClean="0">
                    <a:solidFill>
                      <a:srgbClr val="000000"/>
                    </a:solidFill>
                    <a:latin typeface="DB Office"/>
                  </a:rPr>
                  <a:t>Erwartetes Ergebnis:</a:t>
                </a: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4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4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4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400" dirty="0" smtClean="0">
                    <a:solidFill>
                      <a:srgbClr val="000000"/>
                    </a:solidFill>
                    <a:latin typeface="DB Office"/>
                  </a:rPr>
                  <a:t> </a:t>
                </a:r>
                <a:r>
                  <a:rPr lang="de-DE" sz="1400" dirty="0" smtClean="0">
                    <a:solidFill>
                      <a:srgbClr val="000000"/>
                    </a:solidFill>
                    <a:latin typeface="DB Office"/>
                    <a:sym typeface="Wingdings" panose="05000000000000000000" pitchFamily="2" charset="2"/>
                  </a:rPr>
                  <a:t> s</a:t>
                </a:r>
                <a:r>
                  <a:rPr lang="de-DE" sz="1400" baseline="-25000" dirty="0" smtClean="0">
                    <a:solidFill>
                      <a:srgbClr val="000000"/>
                    </a:solidFill>
                    <a:latin typeface="DB Office"/>
                    <a:sym typeface="Wingdings" panose="05000000000000000000" pitchFamily="2" charset="2"/>
                  </a:rPr>
                  <a:t>1</a:t>
                </a:r>
                <a:r>
                  <a:rPr lang="de-DE" sz="1400" dirty="0" smtClean="0">
                    <a:solidFill>
                      <a:srgbClr val="000000"/>
                    </a:solidFill>
                    <a:latin typeface="DB Office"/>
                    <a:sym typeface="Wingdings" panose="05000000000000000000" pitchFamily="2" charset="2"/>
                  </a:rPr>
                  <a:t> und s</a:t>
                </a:r>
                <a:r>
                  <a:rPr lang="de-DE" sz="1400" baseline="-25000" dirty="0" smtClean="0">
                    <a:solidFill>
                      <a:srgbClr val="000000"/>
                    </a:solidFill>
                    <a:latin typeface="DB Office"/>
                    <a:sym typeface="Wingdings" panose="05000000000000000000" pitchFamily="2" charset="2"/>
                  </a:rPr>
                  <a:t>3</a:t>
                </a: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4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4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4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400" dirty="0">
                    <a:solidFill>
                      <a:srgbClr val="000000"/>
                    </a:solidFill>
                  </a:rPr>
                  <a:t> </a:t>
                </a:r>
                <a:r>
                  <a:rPr lang="de-DE" sz="1400" dirty="0">
                    <a:solidFill>
                      <a:srgbClr val="000000"/>
                    </a:solidFill>
                    <a:sym typeface="Wingdings" panose="05000000000000000000" pitchFamily="2" charset="2"/>
                  </a:rPr>
                  <a:t> </a:t>
                </a:r>
                <a:r>
                  <a:rPr lang="de-DE" sz="1400" dirty="0" smtClean="0">
                    <a:solidFill>
                      <a:srgbClr val="000000"/>
                    </a:solidFill>
                    <a:sym typeface="Wingdings" panose="05000000000000000000" pitchFamily="2" charset="2"/>
                  </a:rPr>
                  <a:t>s</a:t>
                </a:r>
                <a:r>
                  <a:rPr lang="de-DE" sz="1400" baseline="-25000" dirty="0" smtClean="0">
                    <a:solidFill>
                      <a:srgbClr val="000000"/>
                    </a:solidFill>
                    <a:sym typeface="Wingdings" panose="05000000000000000000" pitchFamily="2" charset="2"/>
                  </a:rPr>
                  <a:t>2</a:t>
                </a:r>
                <a:r>
                  <a:rPr lang="de-DE" sz="1400" dirty="0" smtClean="0">
                    <a:solidFill>
                      <a:srgbClr val="000000"/>
                    </a:solidFill>
                    <a:sym typeface="Wingdings" panose="05000000000000000000" pitchFamily="2" charset="2"/>
                  </a:rPr>
                  <a:t> </a:t>
                </a:r>
                <a:r>
                  <a:rPr lang="de-DE" sz="1400" dirty="0">
                    <a:solidFill>
                      <a:srgbClr val="000000"/>
                    </a:solidFill>
                    <a:sym typeface="Wingdings" panose="05000000000000000000" pitchFamily="2" charset="2"/>
                  </a:rPr>
                  <a:t>und s</a:t>
                </a:r>
                <a:r>
                  <a:rPr lang="de-DE" sz="1400" baseline="-25000" dirty="0">
                    <a:solidFill>
                      <a:srgbClr val="000000"/>
                    </a:solidFill>
                    <a:sym typeface="Wingdings" panose="05000000000000000000" pitchFamily="2" charset="2"/>
                  </a:rPr>
                  <a:t>3</a:t>
                </a:r>
                <a:endParaRPr lang="de-DE" sz="1400" baseline="-25000" dirty="0">
                  <a:solidFill>
                    <a:srgbClr val="000000"/>
                  </a:solidFill>
                </a:endParaRP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4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4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400" dirty="0">
                    <a:solidFill>
                      <a:srgbClr val="000000"/>
                    </a:solidFill>
                  </a:rPr>
                  <a:t> </a:t>
                </a:r>
                <a:r>
                  <a:rPr lang="de-DE" sz="1400" dirty="0">
                    <a:solidFill>
                      <a:srgbClr val="000000"/>
                    </a:solidFill>
                    <a:sym typeface="Wingdings" panose="05000000000000000000" pitchFamily="2" charset="2"/>
                  </a:rPr>
                  <a:t> </a:t>
                </a:r>
                <a:r>
                  <a:rPr lang="de-DE" sz="1400" dirty="0" smtClean="0">
                    <a:solidFill>
                      <a:srgbClr val="000000"/>
                    </a:solidFill>
                    <a:sym typeface="Wingdings" panose="05000000000000000000" pitchFamily="2" charset="2"/>
                  </a:rPr>
                  <a:t>s</a:t>
                </a:r>
                <a:r>
                  <a:rPr lang="de-DE" sz="1400" baseline="-25000" dirty="0" smtClean="0">
                    <a:solidFill>
                      <a:srgbClr val="000000"/>
                    </a:solidFill>
                    <a:sym typeface="Wingdings" panose="05000000000000000000" pitchFamily="2" charset="2"/>
                  </a:rPr>
                  <a:t>2</a:t>
                </a:r>
                <a:r>
                  <a:rPr lang="de-DE" sz="1400" dirty="0" smtClean="0">
                    <a:solidFill>
                      <a:srgbClr val="000000"/>
                    </a:solidFill>
                    <a:sym typeface="Wingdings" panose="05000000000000000000" pitchFamily="2" charset="2"/>
                  </a:rPr>
                  <a:t> </a:t>
                </a:r>
                <a:r>
                  <a:rPr lang="de-DE" sz="1400" dirty="0">
                    <a:solidFill>
                      <a:srgbClr val="000000"/>
                    </a:solidFill>
                    <a:sym typeface="Wingdings" panose="05000000000000000000" pitchFamily="2" charset="2"/>
                  </a:rPr>
                  <a:t>und </a:t>
                </a:r>
                <a:r>
                  <a:rPr lang="de-DE" sz="1400" dirty="0" smtClean="0">
                    <a:solidFill>
                      <a:srgbClr val="000000"/>
                    </a:solidFill>
                    <a:sym typeface="Wingdings" panose="05000000000000000000" pitchFamily="2" charset="2"/>
                  </a:rPr>
                  <a:t>s</a:t>
                </a:r>
                <a:r>
                  <a:rPr lang="de-DE" sz="1400" baseline="-25000" dirty="0" smtClean="0">
                    <a:solidFill>
                      <a:srgbClr val="000000"/>
                    </a:solidFill>
                    <a:sym typeface="Wingdings" panose="05000000000000000000" pitchFamily="2" charset="2"/>
                  </a:rPr>
                  <a:t>4</a:t>
                </a:r>
                <a:endParaRPr lang="de-DE" sz="1400" baseline="-25000" dirty="0">
                  <a:solidFill>
                    <a:srgbClr val="000000"/>
                  </a:solidFill>
                </a:endParaRP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4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4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400" dirty="0">
                    <a:solidFill>
                      <a:srgbClr val="000000"/>
                    </a:solidFill>
                  </a:rPr>
                  <a:t> </a:t>
                </a:r>
                <a:r>
                  <a:rPr lang="de-DE" sz="1400" dirty="0">
                    <a:solidFill>
                      <a:srgbClr val="000000"/>
                    </a:solidFill>
                    <a:sym typeface="Wingdings" panose="05000000000000000000" pitchFamily="2" charset="2"/>
                  </a:rPr>
                  <a:t> </a:t>
                </a:r>
                <a:r>
                  <a:rPr lang="de-DE" sz="1400" dirty="0" smtClean="0">
                    <a:solidFill>
                      <a:srgbClr val="000000"/>
                    </a:solidFill>
                    <a:sym typeface="Wingdings" panose="05000000000000000000" pitchFamily="2" charset="2"/>
                  </a:rPr>
                  <a:t>nicht belegt</a:t>
                </a:r>
                <a:endParaRPr lang="de-DE" sz="1400" baseline="-25000" dirty="0" smtClean="0">
                  <a:solidFill>
                    <a:srgbClr val="000000"/>
                  </a:solidFill>
                  <a:latin typeface="DB Office"/>
                </a:endParaRPr>
              </a:p>
            </p:txBody>
          </p:sp>
        </mc:Choice>
        <mc:Fallback xmlns="">
          <p:sp>
            <p:nvSpPr>
              <p:cNvPr id="13" name="Textfeld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69258" y="3902427"/>
                <a:ext cx="1662315" cy="1398781"/>
              </a:xfrm>
              <a:prstGeom prst="rect">
                <a:avLst/>
              </a:prstGeom>
              <a:blipFill rotWithShape="1">
                <a:blip r:embed="rId3"/>
                <a:stretch>
                  <a:fillRect l="-6227" t="-3478" r="-6593" b="-652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371457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chenbeispiel SAT-ganzjährig (</a:t>
            </a:r>
            <a:r>
              <a:rPr lang="de-DE" dirty="0" smtClean="0"/>
              <a:t>2/4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DB Netz AG | Frankfurt | 09.01.2018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303267" y="1268760"/>
            <a:ext cx="119096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1. Wegesuche: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48" name="Tabelle 4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091355475"/>
                  </p:ext>
                </p:extLst>
              </p:nvPr>
            </p:nvGraphicFramePr>
            <p:xfrm>
              <a:off x="317308" y="1678338"/>
              <a:ext cx="9025800" cy="2059497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1012233"/>
                    <a:gridCol w="1239364"/>
                    <a:gridCol w="1968402"/>
                    <a:gridCol w="2260017"/>
                    <a:gridCol w="1321647"/>
                    <a:gridCol w="1224137"/>
                  </a:tblGrid>
                  <a:tr h="353341">
                    <a:tc>
                      <a:txBody>
                        <a:bodyPr/>
                        <a:lstStyle/>
                        <a:p>
                          <a:r>
                            <a:rPr lang="de-DE" sz="1400" dirty="0" err="1" smtClean="0"/>
                            <a:t>Fahrlage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Partition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Fahrlagenvariante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Verkehrstages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gefunden (Wegesuche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nutzbar (SAT)</a:t>
                          </a:r>
                          <a:endParaRPr lang="de-DE" sz="1400" dirty="0"/>
                        </a:p>
                      </a:txBody>
                      <a:tcPr anchor="ctr"/>
                    </a:tc>
                  </a:tr>
                  <a:tr h="2171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r</a:t>
                          </a:r>
                          <a:r>
                            <a:rPr lang="de-DE" sz="1400" baseline="-25000" dirty="0" smtClean="0"/>
                            <a:t>1</a:t>
                          </a:r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(1,1,1,1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  <a:endParaRPr lang="de-DE" sz="14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217120">
                    <a:tc>
                      <a:txBody>
                        <a:bodyPr/>
                        <a:lstStyle/>
                        <a:p>
                          <a:pPr algn="ctr"/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(1,1,0,0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1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}</a:t>
                          </a:r>
                          <a:endParaRPr lang="de-DE" sz="1400" b="1" dirty="0" smtClean="0"/>
                        </a:p>
                      </a:txBody>
                      <a:tcPr anchor="ctr"/>
                    </a:tc>
                  </a:tr>
                  <a:tr h="217120">
                    <a:tc>
                      <a:txBody>
                        <a:bodyPr/>
                        <a:lstStyle/>
                        <a:p>
                          <a:pPr algn="ctr"/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(0,0,1,1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}</a:t>
                          </a:r>
                          <a:endParaRPr lang="de-DE" sz="1400" b="1" dirty="0" smtClean="0"/>
                        </a:p>
                      </a:txBody>
                      <a:tcPr anchor="ctr"/>
                    </a:tc>
                  </a:tr>
                  <a:tr h="2171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r</a:t>
                          </a:r>
                          <a:r>
                            <a:rPr lang="de-DE" sz="1400" baseline="-25000" dirty="0" smtClean="0"/>
                            <a:t>2</a:t>
                          </a:r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(1,1,0,0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1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1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2171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r</a:t>
                          </a:r>
                          <a:r>
                            <a:rPr lang="de-DE" sz="1400" baseline="-25000" dirty="0" smtClean="0"/>
                            <a:t>3</a:t>
                          </a:r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(0,0,0,1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>
          <p:graphicFrame>
            <p:nvGraphicFramePr>
              <p:cNvPr id="48" name="Tabelle 4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091355475"/>
                  </p:ext>
                </p:extLst>
              </p:nvPr>
            </p:nvGraphicFramePr>
            <p:xfrm>
              <a:off x="317308" y="1678338"/>
              <a:ext cx="9025800" cy="2059497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1012233"/>
                    <a:gridCol w="1239364"/>
                    <a:gridCol w="1968402"/>
                    <a:gridCol w="2260017"/>
                    <a:gridCol w="1321647"/>
                    <a:gridCol w="1224137"/>
                  </a:tblGrid>
                  <a:tr h="518160">
                    <a:tc>
                      <a:txBody>
                        <a:bodyPr/>
                        <a:lstStyle/>
                        <a:p>
                          <a:r>
                            <a:rPr lang="de-DE" sz="1400" dirty="0" err="1" smtClean="0"/>
                            <a:t>Fahrlage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Partition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Fahrlagenvariante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Verkehrstages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gefunden (Wegesuche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nutzbar (SAT)</a:t>
                          </a:r>
                          <a:endParaRPr lang="de-DE" sz="1400" dirty="0"/>
                        </a:p>
                      </a:txBody>
                      <a:tcPr anchor="ctr"/>
                    </a:tc>
                  </a:tr>
                  <a:tr h="30848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r</a:t>
                          </a:r>
                          <a:r>
                            <a:rPr lang="de-DE" sz="1400" baseline="-25000" dirty="0" smtClean="0"/>
                            <a:t>1</a:t>
                          </a:r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81773" t="-168627" r="-547783" b="-41568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4241" t="-168627" r="-244272" b="-41568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(1,1,1,1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  <a:endParaRPr lang="de-DE" sz="14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306769">
                    <a:tc>
                      <a:txBody>
                        <a:bodyPr/>
                        <a:lstStyle/>
                        <a:p>
                          <a:pPr algn="ctr"/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81773" t="-274000" r="-547783" b="-324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4241" t="-274000" r="-244272" b="-324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(1,1,0,0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1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}</a:t>
                          </a:r>
                          <a:endParaRPr lang="de-DE" sz="1400" b="1" dirty="0" smtClean="0"/>
                        </a:p>
                      </a:txBody>
                      <a:tcPr anchor="ctr"/>
                    </a:tc>
                  </a:tr>
                  <a:tr h="307150">
                    <a:tc>
                      <a:txBody>
                        <a:bodyPr/>
                        <a:lstStyle/>
                        <a:p>
                          <a:pPr algn="ctr"/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4241" t="-374000" r="-244272" b="-224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(0,0,1,1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}</a:t>
                          </a:r>
                          <a:endParaRPr lang="de-DE" sz="1400" b="1" dirty="0" smtClean="0"/>
                        </a:p>
                      </a:txBody>
                      <a:tcPr anchor="ctr"/>
                    </a:tc>
                  </a:tr>
                  <a:tr h="308928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r</a:t>
                          </a:r>
                          <a:r>
                            <a:rPr lang="de-DE" sz="1400" baseline="-25000" dirty="0" smtClean="0"/>
                            <a:t>2</a:t>
                          </a:r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81773" t="-464706" r="-547783" b="-11960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4241" t="-464706" r="-244272" b="-11960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(1,1,0,0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1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1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310007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r</a:t>
                          </a:r>
                          <a:r>
                            <a:rPr lang="de-DE" sz="1400" baseline="-25000" dirty="0" smtClean="0"/>
                            <a:t>3</a:t>
                          </a:r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81773" t="-564706" r="-547783" b="-1960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4241" t="-564706" r="-244272" b="-1960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(0,0,0,1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Fallback>
      </mc:AlternateContent>
      <p:sp>
        <p:nvSpPr>
          <p:cNvPr id="50" name="Textfeld 49"/>
          <p:cNvSpPr txBox="1"/>
          <p:nvPr/>
        </p:nvSpPr>
        <p:spPr>
          <a:xfrm>
            <a:off x="303267" y="4005064"/>
            <a:ext cx="152971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>
                <a:solidFill>
                  <a:srgbClr val="000000"/>
                </a:solidFill>
                <a:latin typeface="DB Office"/>
              </a:rPr>
              <a:t>2</a:t>
            </a: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. SAT: nicht lösbar</a:t>
            </a:r>
          </a:p>
        </p:txBody>
      </p:sp>
      <p:sp>
        <p:nvSpPr>
          <p:cNvPr id="51" name="Textfeld 50"/>
          <p:cNvSpPr txBox="1"/>
          <p:nvPr/>
        </p:nvSpPr>
        <p:spPr>
          <a:xfrm>
            <a:off x="303267" y="4371128"/>
            <a:ext cx="49789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3. Makrokonflikte (auf Basis Fahrlagen): r</a:t>
            </a:r>
            <a:r>
              <a:rPr lang="de-DE" sz="1400" baseline="-25000" dirty="0" smtClean="0">
                <a:solidFill>
                  <a:srgbClr val="000000"/>
                </a:solidFill>
                <a:latin typeface="DB Office"/>
              </a:rPr>
              <a:t>1</a:t>
            </a: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 &amp; r</a:t>
            </a:r>
            <a:r>
              <a:rPr lang="de-DE" sz="1400" baseline="-25000" dirty="0" smtClean="0">
                <a:solidFill>
                  <a:srgbClr val="000000"/>
                </a:solidFill>
                <a:latin typeface="DB Office"/>
              </a:rPr>
              <a:t>2</a:t>
            </a: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 </a:t>
            </a:r>
            <a:r>
              <a:rPr lang="de-DE" sz="1400" strike="sngStrike" dirty="0">
                <a:solidFill>
                  <a:srgbClr val="000000"/>
                </a:solidFill>
              </a:rPr>
              <a:t>, </a:t>
            </a:r>
            <a:r>
              <a:rPr lang="de-DE" sz="1400" strike="sngStrike" dirty="0" smtClean="0">
                <a:solidFill>
                  <a:srgbClr val="000000"/>
                </a:solidFill>
              </a:rPr>
              <a:t>r</a:t>
            </a:r>
            <a:r>
              <a:rPr lang="de-DE" sz="1400" strike="sngStrike" baseline="-25000" dirty="0" smtClean="0">
                <a:solidFill>
                  <a:srgbClr val="000000"/>
                </a:solidFill>
              </a:rPr>
              <a:t>2</a:t>
            </a:r>
            <a:r>
              <a:rPr lang="de-DE" sz="1400" strike="sngStrike" dirty="0" smtClean="0">
                <a:solidFill>
                  <a:srgbClr val="000000"/>
                </a:solidFill>
              </a:rPr>
              <a:t> </a:t>
            </a:r>
            <a:r>
              <a:rPr lang="de-DE" sz="1400" strike="sngStrike" dirty="0">
                <a:solidFill>
                  <a:srgbClr val="000000"/>
                </a:solidFill>
              </a:rPr>
              <a:t>&amp; </a:t>
            </a:r>
            <a:r>
              <a:rPr lang="de-DE" sz="1400" strike="sngStrike" dirty="0" smtClean="0">
                <a:solidFill>
                  <a:srgbClr val="000000"/>
                </a:solidFill>
              </a:rPr>
              <a:t>r</a:t>
            </a:r>
            <a:r>
              <a:rPr lang="de-DE" sz="1400" strike="sngStrike" baseline="-25000" dirty="0" smtClean="0">
                <a:solidFill>
                  <a:srgbClr val="000000"/>
                </a:solidFill>
              </a:rPr>
              <a:t>3</a:t>
            </a:r>
            <a:r>
              <a:rPr lang="de-DE" sz="1400" strike="sngStrike" dirty="0" smtClean="0">
                <a:solidFill>
                  <a:srgbClr val="000000"/>
                </a:solidFill>
              </a:rPr>
              <a:t> </a:t>
            </a:r>
            <a:r>
              <a:rPr lang="de-DE" sz="1400" strike="sngStrike" dirty="0">
                <a:solidFill>
                  <a:srgbClr val="000000"/>
                </a:solidFill>
              </a:rPr>
              <a:t>, r</a:t>
            </a:r>
            <a:r>
              <a:rPr lang="de-DE" sz="1400" strike="sngStrike" baseline="-25000" dirty="0">
                <a:solidFill>
                  <a:srgbClr val="000000"/>
                </a:solidFill>
              </a:rPr>
              <a:t>1</a:t>
            </a:r>
            <a:r>
              <a:rPr lang="de-DE" sz="1400" strike="sngStrike" dirty="0">
                <a:solidFill>
                  <a:srgbClr val="000000"/>
                </a:solidFill>
              </a:rPr>
              <a:t> &amp; </a:t>
            </a:r>
            <a:r>
              <a:rPr lang="de-DE" sz="1400" strike="sngStrike" dirty="0" smtClean="0">
                <a:solidFill>
                  <a:srgbClr val="000000"/>
                </a:solidFill>
              </a:rPr>
              <a:t>r</a:t>
            </a:r>
            <a:r>
              <a:rPr lang="de-DE" sz="1400" strike="sngStrike" baseline="-25000" dirty="0" smtClean="0">
                <a:solidFill>
                  <a:srgbClr val="000000"/>
                </a:solidFill>
              </a:rPr>
              <a:t>3</a:t>
            </a:r>
            <a:r>
              <a:rPr lang="de-DE" sz="1400" dirty="0" smtClean="0">
                <a:solidFill>
                  <a:srgbClr val="000000"/>
                </a:solidFill>
              </a:rPr>
              <a:t> </a:t>
            </a:r>
            <a:r>
              <a:rPr lang="de-DE" sz="1400" dirty="0" smtClean="0">
                <a:solidFill>
                  <a:srgbClr val="000000"/>
                </a:solidFill>
              </a:rPr>
              <a:t/>
            </a:r>
            <a:br>
              <a:rPr lang="de-DE" sz="1400" dirty="0" smtClean="0">
                <a:solidFill>
                  <a:srgbClr val="000000"/>
                </a:solidFill>
              </a:rPr>
            </a:br>
            <a:r>
              <a:rPr lang="de-DE" sz="1400" dirty="0" smtClean="0">
                <a:solidFill>
                  <a:srgbClr val="000000"/>
                </a:solidFill>
              </a:rPr>
              <a:t>(</a:t>
            </a:r>
            <a:r>
              <a:rPr lang="de-DE" sz="1400" dirty="0" smtClean="0">
                <a:solidFill>
                  <a:schemeClr val="accent2"/>
                </a:solidFill>
              </a:rPr>
              <a:t>es wird nur ein kleinster Konflikt je Konfliktmenge gefunden</a:t>
            </a:r>
            <a:r>
              <a:rPr lang="de-DE" sz="1400" dirty="0" smtClean="0">
                <a:solidFill>
                  <a:srgbClr val="000000"/>
                </a:solidFill>
              </a:rPr>
              <a:t>)</a:t>
            </a:r>
            <a:endParaRPr lang="de-DE" sz="1400" baseline="-25000" dirty="0" smtClean="0">
              <a:solidFill>
                <a:srgbClr val="000000"/>
              </a:solidFill>
              <a:latin typeface="DB Office"/>
            </a:endParaRPr>
          </a:p>
        </p:txBody>
      </p:sp>
      <p:sp>
        <p:nvSpPr>
          <p:cNvPr id="55" name="Textfeld 54"/>
          <p:cNvSpPr txBox="1"/>
          <p:nvPr/>
        </p:nvSpPr>
        <p:spPr>
          <a:xfrm>
            <a:off x="303267" y="4975076"/>
            <a:ext cx="155010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>
                <a:solidFill>
                  <a:srgbClr val="000000"/>
                </a:solidFill>
                <a:latin typeface="DB Office"/>
              </a:rPr>
              <a:t>4</a:t>
            </a: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. Mikrokonflikte: s</a:t>
            </a:r>
            <a:r>
              <a:rPr lang="de-DE" sz="1400" baseline="-25000" dirty="0" smtClean="0">
                <a:solidFill>
                  <a:srgbClr val="000000"/>
                </a:solidFill>
                <a:latin typeface="DB Office"/>
              </a:rPr>
              <a:t>3</a:t>
            </a:r>
          </a:p>
        </p:txBody>
      </p:sp>
      <p:sp>
        <p:nvSpPr>
          <p:cNvPr id="56" name="Textfeld 55"/>
          <p:cNvSpPr txBox="1"/>
          <p:nvPr/>
        </p:nvSpPr>
        <p:spPr>
          <a:xfrm>
            <a:off x="303267" y="5341141"/>
            <a:ext cx="601550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5. Konfliktzeitpunkt: (1,1,1,1) AND (1,1,0,0) </a:t>
            </a:r>
            <a:r>
              <a:rPr lang="de-DE" sz="1400" dirty="0" smtClean="0">
                <a:solidFill>
                  <a:srgbClr val="000000"/>
                </a:solidFill>
                <a:latin typeface="DB Office"/>
                <a:sym typeface="Wingdings" panose="05000000000000000000" pitchFamily="2" charset="2"/>
              </a:rPr>
              <a:t> </a:t>
            </a:r>
            <a:r>
              <a:rPr lang="de-DE" sz="1400" dirty="0" smtClean="0">
                <a:solidFill>
                  <a:srgbClr val="000000"/>
                </a:solidFill>
              </a:rPr>
              <a:t>s</a:t>
            </a:r>
            <a:r>
              <a:rPr lang="de-DE" sz="1400" baseline="-25000" dirty="0" smtClean="0">
                <a:solidFill>
                  <a:srgbClr val="000000"/>
                </a:solidFill>
              </a:rPr>
              <a:t>3</a:t>
            </a:r>
            <a:r>
              <a:rPr lang="de-DE" sz="1400" dirty="0" smtClean="0">
                <a:solidFill>
                  <a:srgbClr val="000000"/>
                </a:solidFill>
              </a:rPr>
              <a:t> </a:t>
            </a:r>
            <a:r>
              <a:rPr lang="de-DE" sz="1400" dirty="0" smtClean="0">
                <a:solidFill>
                  <a:srgbClr val="000000"/>
                </a:solidFill>
                <a:latin typeface="DB Office"/>
                <a:sym typeface="Wingdings" panose="05000000000000000000" pitchFamily="2" charset="2"/>
              </a:rPr>
              <a:t>(1,1,0,0) sperren</a:t>
            </a: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 </a:t>
            </a:r>
            <a:endParaRPr lang="de-DE" sz="1400" baseline="-25000" dirty="0" smtClean="0">
              <a:solidFill>
                <a:srgbClr val="000000"/>
              </a:solidFill>
              <a:latin typeface="DB Office"/>
            </a:endParaRPr>
          </a:p>
        </p:txBody>
      </p:sp>
      <p:sp>
        <p:nvSpPr>
          <p:cNvPr id="6" name="Rechteck 5"/>
          <p:cNvSpPr/>
          <p:nvPr/>
        </p:nvSpPr>
        <p:spPr bwMode="auto">
          <a:xfrm rot="20366072">
            <a:off x="6773884" y="4833157"/>
            <a:ext cx="2448272" cy="575484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Ohne Makrokonflikt auf Ebene Fahrlagenvariante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6725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chenbeispiel SAT-ganzjährig (</a:t>
            </a:r>
            <a:r>
              <a:rPr lang="de-DE" dirty="0" smtClean="0"/>
              <a:t>3/4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DB Netz AG | Frankfurt | 09.01.2018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303267" y="1268760"/>
            <a:ext cx="119096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1. Wegesuche: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48" name="Tabelle 4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52570078"/>
                  </p:ext>
                </p:extLst>
              </p:nvPr>
            </p:nvGraphicFramePr>
            <p:xfrm>
              <a:off x="317307" y="1678338"/>
              <a:ext cx="9241823" cy="2481010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1032912"/>
                    <a:gridCol w="1008721"/>
                    <a:gridCol w="1784847"/>
                    <a:gridCol w="2319000"/>
                    <a:gridCol w="1584176"/>
                    <a:gridCol w="1512167"/>
                  </a:tblGrid>
                  <a:tr h="353341">
                    <a:tc>
                      <a:txBody>
                        <a:bodyPr/>
                        <a:lstStyle/>
                        <a:p>
                          <a:r>
                            <a:rPr lang="de-DE" sz="1400" dirty="0" err="1" smtClean="0"/>
                            <a:t>Fahrlage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Partition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Fahrlagenvariante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Verkehrstages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gefunden (Wegesuche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nutzbar (SAT)</a:t>
                          </a:r>
                          <a:endParaRPr lang="de-DE" sz="1400" dirty="0"/>
                        </a:p>
                      </a:txBody>
                      <a:tcPr anchor="ctr"/>
                    </a:tc>
                  </a:tr>
                  <a:tr h="2171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r</a:t>
                          </a:r>
                          <a:r>
                            <a:rPr lang="de-DE" sz="1400" baseline="-25000" dirty="0" smtClean="0"/>
                            <a:t>1</a:t>
                          </a:r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(1,1,1,1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b="1" dirty="0" smtClean="0"/>
                            <a:t>{}</a:t>
                          </a:r>
                          <a:endParaRPr lang="de-DE" sz="14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217120">
                    <a:tc>
                      <a:txBody>
                        <a:bodyPr/>
                        <a:lstStyle/>
                        <a:p>
                          <a:pPr algn="ctr"/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(1,1,0,0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400" b="1" baseline="-25000" dirty="0" smtClean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r>
                            <a:rPr lang="de-DE" sz="1400" b="1" dirty="0" smtClean="0">
                              <a:solidFill>
                                <a:schemeClr val="tx1"/>
                              </a:solidFill>
                            </a:rPr>
                            <a:t>,s</a:t>
                          </a:r>
                          <a:r>
                            <a:rPr lang="de-DE" sz="1400" b="1" baseline="-25000" dirty="0" smtClean="0">
                              <a:solidFill>
                                <a:schemeClr val="tx1"/>
                              </a:solidFill>
                            </a:rPr>
                            <a:t>4</a:t>
                          </a:r>
                          <a:r>
                            <a:rPr lang="de-DE" sz="14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  <a:endParaRPr lang="de-DE" sz="1400" b="1" dirty="0" smtClean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</a:t>
                          </a:r>
                          <a:r>
                            <a:rPr lang="de-DE" sz="1400" b="1" dirty="0" smtClean="0">
                              <a:solidFill>
                                <a:srgbClr val="004BB4"/>
                              </a:solidFill>
                            </a:rPr>
                            <a:t>s</a:t>
                          </a:r>
                          <a:r>
                            <a:rPr lang="de-DE" sz="1400" b="1" baseline="-25000" dirty="0" smtClean="0">
                              <a:solidFill>
                                <a:srgbClr val="004BB4"/>
                              </a:solidFill>
                            </a:rPr>
                            <a:t>2</a:t>
                          </a:r>
                          <a:r>
                            <a:rPr lang="de-DE" sz="1400" b="1" dirty="0" smtClean="0">
                              <a:solidFill>
                                <a:srgbClr val="004BB4"/>
                              </a:solidFill>
                            </a:rPr>
                            <a:t>,s</a:t>
                          </a:r>
                          <a:r>
                            <a:rPr lang="de-DE" sz="1400" b="1" baseline="-25000" dirty="0" smtClean="0">
                              <a:solidFill>
                                <a:srgbClr val="004BB4"/>
                              </a:solidFill>
                            </a:rPr>
                            <a:t>4</a:t>
                          </a:r>
                          <a:r>
                            <a:rPr lang="de-DE" sz="1400" b="1" dirty="0" smtClean="0"/>
                            <a:t>}</a:t>
                          </a:r>
                          <a:endParaRPr lang="de-DE" sz="1400" b="1" dirty="0" smtClean="0"/>
                        </a:p>
                      </a:txBody>
                      <a:tcPr anchor="ctr"/>
                    </a:tc>
                  </a:tr>
                  <a:tr h="217120">
                    <a:tc>
                      <a:txBody>
                        <a:bodyPr/>
                        <a:lstStyle/>
                        <a:p>
                          <a:pPr algn="ctr"/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(0,0,1,1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400" b="1" baseline="-25000" dirty="0" smtClean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r>
                            <a:rPr lang="de-DE" sz="1400" b="1" dirty="0" smtClean="0">
                              <a:solidFill>
                                <a:schemeClr val="tx1"/>
                              </a:solidFill>
                            </a:rPr>
                            <a:t>,s</a:t>
                          </a:r>
                          <a:r>
                            <a:rPr lang="de-DE" sz="1400" b="1" baseline="-25000" dirty="0" smtClean="0">
                              <a:solidFill>
                                <a:schemeClr val="tx1"/>
                              </a:solidFill>
                            </a:rPr>
                            <a:t>3</a:t>
                          </a:r>
                          <a:r>
                            <a:rPr lang="de-DE" sz="14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  <a:endParaRPr lang="de-DE" sz="1400" b="1" dirty="0" smtClean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</a:t>
                          </a:r>
                          <a:r>
                            <a:rPr lang="de-DE" sz="1400" b="1" dirty="0" smtClean="0">
                              <a:solidFill>
                                <a:srgbClr val="004BB4"/>
                              </a:solidFill>
                            </a:rPr>
                            <a:t>s</a:t>
                          </a:r>
                          <a:r>
                            <a:rPr lang="de-DE" sz="1400" b="1" baseline="-25000" dirty="0" smtClean="0">
                              <a:solidFill>
                                <a:srgbClr val="004BB4"/>
                              </a:solidFill>
                            </a:rPr>
                            <a:t>2</a:t>
                          </a:r>
                          <a:r>
                            <a:rPr lang="de-DE" sz="1400" b="1" dirty="0" smtClean="0">
                              <a:solidFill>
                                <a:srgbClr val="004BB4"/>
                              </a:solidFill>
                            </a:rPr>
                            <a:t>,s</a:t>
                          </a:r>
                          <a:r>
                            <a:rPr lang="de-DE" sz="1400" b="1" baseline="-25000" dirty="0" smtClean="0">
                              <a:solidFill>
                                <a:srgbClr val="004BB4"/>
                              </a:solidFill>
                            </a:rPr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  <a:endParaRPr lang="de-DE" sz="1400" b="1" dirty="0" smtClean="0"/>
                        </a:p>
                      </a:txBody>
                      <a:tcPr anchor="ctr"/>
                    </a:tc>
                  </a:tr>
                  <a:tr h="2171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r</a:t>
                          </a:r>
                          <a:r>
                            <a:rPr lang="de-DE" sz="1400" baseline="-25000" dirty="0" smtClean="0"/>
                            <a:t>2</a:t>
                          </a:r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(1,1,0,0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baseline="0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:r>
                            <a:rPr lang="de-DE" sz="1400" b="1" dirty="0" smtClean="0">
                              <a:solidFill>
                                <a:schemeClr val="tx1"/>
                              </a:solidFill>
                            </a:rPr>
                            <a:t>s</a:t>
                          </a:r>
                          <a:r>
                            <a:rPr lang="de-DE" sz="1400" b="1" baseline="-25000" dirty="0" smtClean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r>
                            <a:rPr lang="de-DE" sz="1400" b="1" dirty="0" smtClean="0">
                              <a:solidFill>
                                <a:schemeClr val="tx1"/>
                              </a:solidFill>
                            </a:rPr>
                            <a:t>,s</a:t>
                          </a:r>
                          <a:r>
                            <a:rPr lang="de-DE" sz="1400" b="1" baseline="-25000" dirty="0" smtClean="0">
                              <a:solidFill>
                                <a:schemeClr val="tx1"/>
                              </a:solidFill>
                            </a:rPr>
                            <a:t>4</a:t>
                          </a:r>
                          <a:r>
                            <a:rPr lang="de-DE" sz="14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  <a:endParaRPr lang="de-DE" sz="1400" b="1" dirty="0" smtClean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</a:t>
                          </a:r>
                          <a:r>
                            <a:rPr lang="de-DE" sz="1400" b="1" dirty="0" smtClean="0"/>
                            <a:t>s</a:t>
                          </a:r>
                          <a:r>
                            <a:rPr lang="de-DE" sz="1400" b="1" baseline="-25000" dirty="0" smtClean="0"/>
                            <a:t>1</a:t>
                          </a:r>
                          <a:r>
                            <a:rPr lang="de-DE" sz="1400" b="1" dirty="0" smtClean="0"/>
                            <a:t>,</a:t>
                          </a:r>
                          <a:r>
                            <a:rPr lang="de-DE" sz="1400" b="1" dirty="0" smtClean="0">
                              <a:solidFill>
                                <a:srgbClr val="004BB4"/>
                              </a:solidFill>
                            </a:rPr>
                            <a:t>s</a:t>
                          </a:r>
                          <a:r>
                            <a:rPr lang="de-DE" sz="1400" b="1" baseline="-25000" dirty="0" smtClean="0">
                              <a:solidFill>
                                <a:srgbClr val="004BB4"/>
                              </a:solidFill>
                            </a:rPr>
                            <a:t>2</a:t>
                          </a:r>
                          <a:r>
                            <a:rPr lang="de-DE" sz="1400" b="1" dirty="0" smtClean="0">
                              <a:solidFill>
                                <a:schemeClr val="tx1"/>
                              </a:solidFill>
                            </a:rPr>
                            <a:t>,</a:t>
                          </a:r>
                          <a:r>
                            <a:rPr lang="de-DE" sz="1400" b="1" dirty="0" smtClean="0"/>
                            <a:t>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,</a:t>
                          </a:r>
                          <a:r>
                            <a:rPr lang="de-DE" sz="1400" b="1" dirty="0" smtClean="0">
                              <a:solidFill>
                                <a:srgbClr val="004BB4"/>
                              </a:solidFill>
                            </a:rPr>
                            <a:t>s</a:t>
                          </a:r>
                          <a:r>
                            <a:rPr lang="de-DE" sz="1400" b="1" baseline="-25000" dirty="0" smtClean="0">
                              <a:solidFill>
                                <a:srgbClr val="004BB4"/>
                              </a:solidFill>
                            </a:rPr>
                            <a:t>4</a:t>
                          </a:r>
                          <a:r>
                            <a:rPr lang="de-DE" sz="14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  <a:tr h="2171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strike="noStrike" dirty="0" smtClean="0"/>
                            <a:t>r</a:t>
                          </a:r>
                          <a:r>
                            <a:rPr lang="de-DE" sz="1400" strike="noStrike" baseline="-25000" dirty="0" smtClean="0"/>
                            <a:t>3</a:t>
                          </a:r>
                          <a:endParaRPr lang="de-DE" sz="1400" strike="noStrike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strike="noStrike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strike="noStrike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strike="noStrike" dirty="0" smtClean="0"/>
                            <a:t>(0,0,0,1</a:t>
                          </a:r>
                          <a:r>
                            <a:rPr lang="de-DE" sz="1400" strike="noStrike" dirty="0" smtClean="0"/>
                            <a:t>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strike="noStrike" baseline="0" dirty="0" smtClean="0"/>
                            <a:t>{}</a:t>
                          </a:r>
                          <a:br>
                            <a:rPr lang="de-DE" sz="1400" b="1" strike="noStrike" baseline="0" dirty="0" smtClean="0"/>
                          </a:br>
                          <a:r>
                            <a:rPr lang="de-DE" sz="1400" strike="noStrike" dirty="0" smtClean="0"/>
                            <a:t>(Nicht im Makro-Konflikt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  <a:endParaRPr lang="de-DE" sz="1400" strike="noStrike" dirty="0" smtClean="0"/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>
          <p:graphicFrame>
            <p:nvGraphicFramePr>
              <p:cNvPr id="48" name="Tabelle 4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52570078"/>
                  </p:ext>
                </p:extLst>
              </p:nvPr>
            </p:nvGraphicFramePr>
            <p:xfrm>
              <a:off x="317307" y="1678338"/>
              <a:ext cx="9241823" cy="2481010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1032912"/>
                    <a:gridCol w="1008721"/>
                    <a:gridCol w="1784847"/>
                    <a:gridCol w="2319000"/>
                    <a:gridCol w="1584176"/>
                    <a:gridCol w="1512167"/>
                  </a:tblGrid>
                  <a:tr h="518160">
                    <a:tc>
                      <a:txBody>
                        <a:bodyPr/>
                        <a:lstStyle/>
                        <a:p>
                          <a:r>
                            <a:rPr lang="de-DE" sz="1400" dirty="0" err="1" smtClean="0"/>
                            <a:t>Fahrlage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Partition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Fahrlagenvariante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Verkehrstages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gefunden (Wegesuche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nutzbar (SAT)</a:t>
                          </a:r>
                          <a:endParaRPr lang="de-DE" sz="1400" dirty="0"/>
                        </a:p>
                      </a:txBody>
                      <a:tcPr anchor="ctr"/>
                    </a:tc>
                  </a:tr>
                  <a:tr h="30848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r</a:t>
                          </a:r>
                          <a:r>
                            <a:rPr lang="de-DE" sz="1400" baseline="-25000" dirty="0" smtClean="0"/>
                            <a:t>1</a:t>
                          </a:r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01807" t="-168627" r="-712048" b="-55098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4334" t="-168627" r="-303413" b="-55098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(1,1,1,1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b="1" dirty="0" smtClean="0"/>
                            <a:t>{}</a:t>
                          </a:r>
                          <a:endParaRPr lang="de-DE" sz="14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306769">
                    <a:tc>
                      <a:txBody>
                        <a:bodyPr/>
                        <a:lstStyle/>
                        <a:p>
                          <a:pPr algn="ctr"/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01807" t="-274000" r="-712048" b="-462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4334" t="-274000" r="-303413" b="-462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(1,1,0,0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400" b="1" baseline="-25000" dirty="0" smtClean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r>
                            <a:rPr lang="de-DE" sz="1400" b="1" dirty="0" smtClean="0">
                              <a:solidFill>
                                <a:schemeClr val="tx1"/>
                              </a:solidFill>
                            </a:rPr>
                            <a:t>,s</a:t>
                          </a:r>
                          <a:r>
                            <a:rPr lang="de-DE" sz="1400" b="1" baseline="-25000" dirty="0" smtClean="0">
                              <a:solidFill>
                                <a:schemeClr val="tx1"/>
                              </a:solidFill>
                            </a:rPr>
                            <a:t>4</a:t>
                          </a:r>
                          <a:r>
                            <a:rPr lang="de-DE" sz="14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  <a:endParaRPr lang="de-DE" sz="1400" b="1" dirty="0" smtClean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</a:t>
                          </a:r>
                          <a:r>
                            <a:rPr lang="de-DE" sz="1400" b="1" dirty="0" smtClean="0">
                              <a:solidFill>
                                <a:srgbClr val="004BB4"/>
                              </a:solidFill>
                            </a:rPr>
                            <a:t>s</a:t>
                          </a:r>
                          <a:r>
                            <a:rPr lang="de-DE" sz="1400" b="1" baseline="-25000" dirty="0" smtClean="0">
                              <a:solidFill>
                                <a:srgbClr val="004BB4"/>
                              </a:solidFill>
                            </a:rPr>
                            <a:t>2</a:t>
                          </a:r>
                          <a:r>
                            <a:rPr lang="de-DE" sz="1400" b="1" dirty="0" smtClean="0">
                              <a:solidFill>
                                <a:srgbClr val="004BB4"/>
                              </a:solidFill>
                            </a:rPr>
                            <a:t>,s</a:t>
                          </a:r>
                          <a:r>
                            <a:rPr lang="de-DE" sz="1400" b="1" baseline="-25000" dirty="0" smtClean="0">
                              <a:solidFill>
                                <a:srgbClr val="004BB4"/>
                              </a:solidFill>
                            </a:rPr>
                            <a:t>4</a:t>
                          </a:r>
                          <a:r>
                            <a:rPr lang="de-DE" sz="1400" b="1" dirty="0" smtClean="0"/>
                            <a:t>}</a:t>
                          </a:r>
                          <a:endParaRPr lang="de-DE" sz="1400" b="1" dirty="0" smtClean="0"/>
                        </a:p>
                      </a:txBody>
                      <a:tcPr anchor="ctr"/>
                    </a:tc>
                  </a:tr>
                  <a:tr h="307150">
                    <a:tc>
                      <a:txBody>
                        <a:bodyPr/>
                        <a:lstStyle/>
                        <a:p>
                          <a:pPr algn="ctr"/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4334" t="-374000" r="-303413" b="-362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(0,0,1,1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400" b="1" baseline="-25000" dirty="0" smtClean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r>
                            <a:rPr lang="de-DE" sz="1400" b="1" dirty="0" smtClean="0">
                              <a:solidFill>
                                <a:schemeClr val="tx1"/>
                              </a:solidFill>
                            </a:rPr>
                            <a:t>,s</a:t>
                          </a:r>
                          <a:r>
                            <a:rPr lang="de-DE" sz="1400" b="1" baseline="-25000" dirty="0" smtClean="0">
                              <a:solidFill>
                                <a:schemeClr val="tx1"/>
                              </a:solidFill>
                            </a:rPr>
                            <a:t>3</a:t>
                          </a:r>
                          <a:r>
                            <a:rPr lang="de-DE" sz="14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  <a:endParaRPr lang="de-DE" sz="1400" b="1" dirty="0" smtClean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</a:t>
                          </a:r>
                          <a:r>
                            <a:rPr lang="de-DE" sz="1400" b="1" dirty="0" smtClean="0">
                              <a:solidFill>
                                <a:srgbClr val="004BB4"/>
                              </a:solidFill>
                            </a:rPr>
                            <a:t>s</a:t>
                          </a:r>
                          <a:r>
                            <a:rPr lang="de-DE" sz="1400" b="1" baseline="-25000" dirty="0" smtClean="0">
                              <a:solidFill>
                                <a:srgbClr val="004BB4"/>
                              </a:solidFill>
                            </a:rPr>
                            <a:t>2</a:t>
                          </a:r>
                          <a:r>
                            <a:rPr lang="de-DE" sz="1400" b="1" dirty="0" smtClean="0">
                              <a:solidFill>
                                <a:srgbClr val="004BB4"/>
                              </a:solidFill>
                            </a:rPr>
                            <a:t>,s</a:t>
                          </a:r>
                          <a:r>
                            <a:rPr lang="de-DE" sz="1400" b="1" baseline="-25000" dirty="0" smtClean="0">
                              <a:solidFill>
                                <a:srgbClr val="004BB4"/>
                              </a:solidFill>
                            </a:rPr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  <a:endParaRPr lang="de-DE" sz="1400" b="1" dirty="0" smtClean="0"/>
                        </a:p>
                      </a:txBody>
                      <a:tcPr anchor="ctr"/>
                    </a:tc>
                  </a:tr>
                  <a:tr h="308928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r</a:t>
                          </a:r>
                          <a:r>
                            <a:rPr lang="de-DE" sz="1400" baseline="-25000" dirty="0" smtClean="0"/>
                            <a:t>2</a:t>
                          </a:r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01807" t="-464706" r="-712048" b="-25490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4334" t="-464706" r="-303413" b="-25490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(1,1,0,0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baseline="0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:r>
                            <a:rPr lang="de-DE" sz="1400" b="1" dirty="0" smtClean="0">
                              <a:solidFill>
                                <a:schemeClr val="tx1"/>
                              </a:solidFill>
                            </a:rPr>
                            <a:t>s</a:t>
                          </a:r>
                          <a:r>
                            <a:rPr lang="de-DE" sz="1400" b="1" baseline="-25000" dirty="0" smtClean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r>
                            <a:rPr lang="de-DE" sz="1400" b="1" dirty="0" smtClean="0">
                              <a:solidFill>
                                <a:schemeClr val="tx1"/>
                              </a:solidFill>
                            </a:rPr>
                            <a:t>,s</a:t>
                          </a:r>
                          <a:r>
                            <a:rPr lang="de-DE" sz="1400" b="1" baseline="-25000" dirty="0" smtClean="0">
                              <a:solidFill>
                                <a:schemeClr val="tx1"/>
                              </a:solidFill>
                            </a:rPr>
                            <a:t>4</a:t>
                          </a:r>
                          <a:r>
                            <a:rPr lang="de-DE" sz="14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  <a:endParaRPr lang="de-DE" sz="1400" b="1" dirty="0" smtClean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</a:t>
                          </a:r>
                          <a:r>
                            <a:rPr lang="de-DE" sz="1400" b="1" dirty="0" smtClean="0"/>
                            <a:t>s</a:t>
                          </a:r>
                          <a:r>
                            <a:rPr lang="de-DE" sz="1400" b="1" baseline="-25000" dirty="0" smtClean="0"/>
                            <a:t>1</a:t>
                          </a:r>
                          <a:r>
                            <a:rPr lang="de-DE" sz="1400" b="1" dirty="0" smtClean="0"/>
                            <a:t>,</a:t>
                          </a:r>
                          <a:r>
                            <a:rPr lang="de-DE" sz="1400" b="1" dirty="0" smtClean="0">
                              <a:solidFill>
                                <a:srgbClr val="004BB4"/>
                              </a:solidFill>
                            </a:rPr>
                            <a:t>s</a:t>
                          </a:r>
                          <a:r>
                            <a:rPr lang="de-DE" sz="1400" b="1" baseline="-25000" dirty="0" smtClean="0">
                              <a:solidFill>
                                <a:srgbClr val="004BB4"/>
                              </a:solidFill>
                            </a:rPr>
                            <a:t>2</a:t>
                          </a:r>
                          <a:r>
                            <a:rPr lang="de-DE" sz="1400" b="1" dirty="0" smtClean="0">
                              <a:solidFill>
                                <a:schemeClr val="tx1"/>
                              </a:solidFill>
                            </a:rPr>
                            <a:t>,</a:t>
                          </a:r>
                          <a:r>
                            <a:rPr lang="de-DE" sz="1400" b="1" dirty="0" smtClean="0"/>
                            <a:t>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,</a:t>
                          </a:r>
                          <a:r>
                            <a:rPr lang="de-DE" sz="1400" b="1" dirty="0" smtClean="0">
                              <a:solidFill>
                                <a:srgbClr val="004BB4"/>
                              </a:solidFill>
                            </a:rPr>
                            <a:t>s</a:t>
                          </a:r>
                          <a:r>
                            <a:rPr lang="de-DE" sz="1400" b="1" baseline="-25000" dirty="0" smtClean="0">
                              <a:solidFill>
                                <a:srgbClr val="004BB4"/>
                              </a:solidFill>
                            </a:rPr>
                            <a:t>4</a:t>
                          </a:r>
                          <a:r>
                            <a:rPr lang="de-DE" sz="14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  <a:tr h="7315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strike="noStrike" dirty="0" smtClean="0"/>
                            <a:t>r</a:t>
                          </a:r>
                          <a:r>
                            <a:rPr lang="de-DE" sz="1400" strike="noStrike" baseline="-25000" dirty="0" smtClean="0"/>
                            <a:t>3</a:t>
                          </a:r>
                          <a:endParaRPr lang="de-DE" sz="1400" strike="noStrike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01807" t="-240000" r="-712048" b="-833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4334" t="-240000" r="-303413" b="-833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strike="noStrike" dirty="0" smtClean="0"/>
                            <a:t>(0,0,0,1</a:t>
                          </a:r>
                          <a:r>
                            <a:rPr lang="de-DE" sz="1400" strike="noStrike" dirty="0" smtClean="0"/>
                            <a:t>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strike="noStrike" baseline="0" dirty="0" smtClean="0"/>
                            <a:t>{}</a:t>
                          </a:r>
                          <a:br>
                            <a:rPr lang="de-DE" sz="1400" b="1" strike="noStrike" baseline="0" dirty="0" smtClean="0"/>
                          </a:br>
                          <a:r>
                            <a:rPr lang="de-DE" sz="1400" strike="noStrike" dirty="0" smtClean="0"/>
                            <a:t>(Nicht im Makro-Konflikt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  <a:endParaRPr lang="de-DE" sz="1400" strike="noStrike" dirty="0" smtClean="0"/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Fallback>
      </mc:AlternateContent>
      <p:sp>
        <p:nvSpPr>
          <p:cNvPr id="50" name="Textfeld 49"/>
          <p:cNvSpPr txBox="1"/>
          <p:nvPr/>
        </p:nvSpPr>
        <p:spPr>
          <a:xfrm>
            <a:off x="303267" y="4350248"/>
            <a:ext cx="152971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>
                <a:solidFill>
                  <a:srgbClr val="000000"/>
                </a:solidFill>
                <a:latin typeface="DB Office"/>
              </a:rPr>
              <a:t>2</a:t>
            </a: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. SAT: nicht lösbar</a:t>
            </a:r>
          </a:p>
        </p:txBody>
      </p:sp>
      <p:sp>
        <p:nvSpPr>
          <p:cNvPr id="51" name="Textfeld 50"/>
          <p:cNvSpPr txBox="1"/>
          <p:nvPr/>
        </p:nvSpPr>
        <p:spPr>
          <a:xfrm>
            <a:off x="303267" y="4716312"/>
            <a:ext cx="497892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3. Makrokonflikte (auf Basis Fahrlagen): </a:t>
            </a:r>
            <a:r>
              <a:rPr lang="de-DE" sz="1400" dirty="0">
                <a:solidFill>
                  <a:srgbClr val="000000"/>
                </a:solidFill>
              </a:rPr>
              <a:t>r</a:t>
            </a:r>
            <a:r>
              <a:rPr lang="de-DE" sz="1400" baseline="-25000" dirty="0">
                <a:solidFill>
                  <a:srgbClr val="000000"/>
                </a:solidFill>
              </a:rPr>
              <a:t>1</a:t>
            </a:r>
            <a:r>
              <a:rPr lang="de-DE" sz="1400" dirty="0">
                <a:solidFill>
                  <a:srgbClr val="000000"/>
                </a:solidFill>
              </a:rPr>
              <a:t> &amp; r</a:t>
            </a:r>
            <a:r>
              <a:rPr lang="de-DE" sz="1400" baseline="-25000" dirty="0">
                <a:solidFill>
                  <a:srgbClr val="000000"/>
                </a:solidFill>
              </a:rPr>
              <a:t>2</a:t>
            </a:r>
            <a:r>
              <a:rPr lang="de-DE" sz="1400" dirty="0">
                <a:solidFill>
                  <a:srgbClr val="000000"/>
                </a:solidFill>
              </a:rPr>
              <a:t> </a:t>
            </a:r>
            <a:r>
              <a:rPr lang="de-DE" sz="1400" strike="sngStrike" dirty="0">
                <a:solidFill>
                  <a:srgbClr val="000000"/>
                </a:solidFill>
              </a:rPr>
              <a:t>, r</a:t>
            </a:r>
            <a:r>
              <a:rPr lang="de-DE" sz="1400" strike="sngStrike" baseline="-25000" dirty="0">
                <a:solidFill>
                  <a:srgbClr val="000000"/>
                </a:solidFill>
              </a:rPr>
              <a:t>2</a:t>
            </a:r>
            <a:r>
              <a:rPr lang="de-DE" sz="1400" strike="sngStrike" dirty="0">
                <a:solidFill>
                  <a:srgbClr val="000000"/>
                </a:solidFill>
              </a:rPr>
              <a:t> &amp; r</a:t>
            </a:r>
            <a:r>
              <a:rPr lang="de-DE" sz="1400" strike="sngStrike" baseline="-25000" dirty="0">
                <a:solidFill>
                  <a:srgbClr val="000000"/>
                </a:solidFill>
              </a:rPr>
              <a:t>3</a:t>
            </a:r>
            <a:r>
              <a:rPr lang="de-DE" sz="1400" strike="sngStrike" dirty="0">
                <a:solidFill>
                  <a:srgbClr val="000000"/>
                </a:solidFill>
              </a:rPr>
              <a:t> , r</a:t>
            </a:r>
            <a:r>
              <a:rPr lang="de-DE" sz="1400" strike="sngStrike" baseline="-25000" dirty="0">
                <a:solidFill>
                  <a:srgbClr val="000000"/>
                </a:solidFill>
              </a:rPr>
              <a:t>1</a:t>
            </a:r>
            <a:r>
              <a:rPr lang="de-DE" sz="1400" strike="sngStrike" dirty="0">
                <a:solidFill>
                  <a:srgbClr val="000000"/>
                </a:solidFill>
              </a:rPr>
              <a:t> &amp; r</a:t>
            </a:r>
            <a:r>
              <a:rPr lang="de-DE" sz="1400" strike="sngStrike" baseline="-25000" dirty="0">
                <a:solidFill>
                  <a:srgbClr val="000000"/>
                </a:solidFill>
              </a:rPr>
              <a:t>3</a:t>
            </a:r>
            <a:r>
              <a:rPr lang="de-DE" sz="1400" dirty="0">
                <a:solidFill>
                  <a:srgbClr val="000000"/>
                </a:solidFill>
              </a:rPr>
              <a:t> </a:t>
            </a:r>
            <a:endParaRPr lang="de-DE" sz="1400" baseline="-25000" dirty="0" smtClean="0">
              <a:solidFill>
                <a:schemeClr val="accent2"/>
              </a:solidFill>
              <a:latin typeface="DB Office"/>
            </a:endParaRPr>
          </a:p>
        </p:txBody>
      </p:sp>
      <p:sp>
        <p:nvSpPr>
          <p:cNvPr id="55" name="Textfeld 54"/>
          <p:cNvSpPr txBox="1"/>
          <p:nvPr/>
        </p:nvSpPr>
        <p:spPr>
          <a:xfrm>
            <a:off x="303267" y="5082376"/>
            <a:ext cx="5799480" cy="8669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chemeClr val="accent2"/>
                </a:solidFill>
              </a:rPr>
              <a:t>Konflikt </a:t>
            </a:r>
            <a:r>
              <a:rPr lang="de-DE" sz="1400" dirty="0">
                <a:solidFill>
                  <a:schemeClr val="accent2"/>
                </a:solidFill>
              </a:rPr>
              <a:t>trotz Umweg nicht aufgelöst 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  <a:sym typeface="Wingdings" panose="05000000000000000000" pitchFamily="2" charset="2"/>
              </a:rPr>
              <a:t> früheres Aufteilen notwendig </a:t>
            </a:r>
            <a:br>
              <a:rPr lang="de-DE" sz="1400" dirty="0">
                <a:solidFill>
                  <a:schemeClr val="accent2"/>
                </a:solidFill>
                <a:sym typeface="Wingdings" panose="05000000000000000000" pitchFamily="2" charset="2"/>
              </a:rPr>
            </a:br>
            <a:r>
              <a:rPr lang="de-DE" sz="1400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 Makrokonflikte auf Basis Partitionen/Fahrlagenvarianten bestimmen</a:t>
            </a:r>
            <a:endParaRPr lang="de-DE" sz="1400" baseline="-25000" dirty="0">
              <a:solidFill>
                <a:schemeClr val="accent2"/>
              </a:solidFill>
            </a:endParaRPr>
          </a:p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endParaRPr lang="de-DE" sz="1400" baseline="-25000" dirty="0" smtClean="0">
              <a:solidFill>
                <a:srgbClr val="000000"/>
              </a:solidFill>
              <a:latin typeface="DB Office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6430434" y="1321023"/>
            <a:ext cx="18325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b="1" dirty="0">
                <a:solidFill>
                  <a:srgbClr val="000000"/>
                </a:solidFill>
              </a:rPr>
              <a:t>s</a:t>
            </a:r>
            <a:r>
              <a:rPr lang="de-DE" sz="1400" b="1" baseline="-25000" dirty="0">
                <a:solidFill>
                  <a:srgbClr val="000000"/>
                </a:solidFill>
              </a:rPr>
              <a:t>3</a:t>
            </a:r>
            <a:r>
              <a:rPr lang="de-DE" sz="1400" b="1" dirty="0">
                <a:solidFill>
                  <a:srgbClr val="000000"/>
                </a:solidFill>
              </a:rPr>
              <a:t> </a:t>
            </a:r>
            <a:r>
              <a:rPr lang="de-DE" sz="1400" b="1" dirty="0">
                <a:solidFill>
                  <a:srgbClr val="000000"/>
                </a:solidFill>
                <a:sym typeface="Wingdings" panose="05000000000000000000" pitchFamily="2" charset="2"/>
              </a:rPr>
              <a:t>(1,1,0,0) </a:t>
            </a:r>
            <a:r>
              <a:rPr lang="de-DE" sz="1400" b="1" dirty="0" smtClean="0">
                <a:solidFill>
                  <a:srgbClr val="000000"/>
                </a:solidFill>
                <a:sym typeface="Wingdings" panose="05000000000000000000" pitchFamily="2" charset="2"/>
              </a:rPr>
              <a:t>gesperrt</a:t>
            </a:r>
            <a:endParaRPr lang="de-DE" sz="1400" b="1" dirty="0"/>
          </a:p>
        </p:txBody>
      </p:sp>
    </p:spTree>
    <p:extLst>
      <p:ext uri="{BB962C8B-B14F-4D97-AF65-F5344CB8AC3E}">
        <p14:creationId xmlns:p14="http://schemas.microsoft.com/office/powerpoint/2010/main" val="155600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chenbeispiel SAT-ganzjährig (</a:t>
            </a:r>
            <a:r>
              <a:rPr lang="de-DE" dirty="0" smtClean="0"/>
              <a:t>4/4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DB Netz AG | Frankfurt | 09.01.2018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303267" y="1268760"/>
            <a:ext cx="119096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1. Wegesuche:</a:t>
            </a:r>
          </a:p>
        </p:txBody>
      </p:sp>
      <p:sp>
        <p:nvSpPr>
          <p:cNvPr id="50" name="Textfeld 49"/>
          <p:cNvSpPr txBox="1"/>
          <p:nvPr/>
        </p:nvSpPr>
        <p:spPr>
          <a:xfrm>
            <a:off x="303267" y="4005064"/>
            <a:ext cx="152971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>
                <a:solidFill>
                  <a:srgbClr val="000000"/>
                </a:solidFill>
                <a:latin typeface="DB Office"/>
              </a:rPr>
              <a:t>2</a:t>
            </a: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. SAT: nicht lösbar</a:t>
            </a:r>
          </a:p>
        </p:txBody>
      </p:sp>
      <p:sp>
        <p:nvSpPr>
          <p:cNvPr id="51" name="Textfeld 50"/>
          <p:cNvSpPr txBox="1"/>
          <p:nvPr/>
        </p:nvSpPr>
        <p:spPr>
          <a:xfrm>
            <a:off x="303267" y="4371128"/>
            <a:ext cx="507831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3. Makrokonflikte (auf Basis Fahrlagen): </a:t>
            </a:r>
            <a:r>
              <a:rPr lang="de-DE" sz="1400" dirty="0">
                <a:solidFill>
                  <a:srgbClr val="000000"/>
                </a:solidFill>
              </a:rPr>
              <a:t>r</a:t>
            </a:r>
            <a:r>
              <a:rPr lang="de-DE" sz="1400" baseline="-25000" dirty="0">
                <a:solidFill>
                  <a:srgbClr val="000000"/>
                </a:solidFill>
              </a:rPr>
              <a:t>1</a:t>
            </a:r>
            <a:r>
              <a:rPr lang="de-DE" sz="1400" dirty="0">
                <a:solidFill>
                  <a:srgbClr val="000000"/>
                </a:solidFill>
              </a:rPr>
              <a:t> &amp; r</a:t>
            </a:r>
            <a:r>
              <a:rPr lang="de-DE" sz="1400" baseline="-25000" dirty="0">
                <a:solidFill>
                  <a:srgbClr val="000000"/>
                </a:solidFill>
              </a:rPr>
              <a:t>2</a:t>
            </a:r>
            <a:r>
              <a:rPr lang="de-DE" sz="1400" dirty="0">
                <a:solidFill>
                  <a:srgbClr val="000000"/>
                </a:solidFill>
              </a:rPr>
              <a:t> </a:t>
            </a:r>
            <a:r>
              <a:rPr lang="de-DE" sz="1400" strike="sngStrike" dirty="0">
                <a:solidFill>
                  <a:srgbClr val="000000"/>
                </a:solidFill>
              </a:rPr>
              <a:t>, r</a:t>
            </a:r>
            <a:r>
              <a:rPr lang="de-DE" sz="1400" strike="sngStrike" baseline="-25000" dirty="0">
                <a:solidFill>
                  <a:srgbClr val="000000"/>
                </a:solidFill>
              </a:rPr>
              <a:t>2</a:t>
            </a:r>
            <a:r>
              <a:rPr lang="de-DE" sz="1400" strike="sngStrike" dirty="0">
                <a:solidFill>
                  <a:srgbClr val="000000"/>
                </a:solidFill>
              </a:rPr>
              <a:t> &amp; r</a:t>
            </a:r>
            <a:r>
              <a:rPr lang="de-DE" sz="1400" strike="sngStrike" baseline="-25000" dirty="0">
                <a:solidFill>
                  <a:srgbClr val="000000"/>
                </a:solidFill>
              </a:rPr>
              <a:t>3</a:t>
            </a:r>
            <a:r>
              <a:rPr lang="de-DE" sz="1400" strike="sngStrike" dirty="0">
                <a:solidFill>
                  <a:srgbClr val="000000"/>
                </a:solidFill>
              </a:rPr>
              <a:t> , r</a:t>
            </a:r>
            <a:r>
              <a:rPr lang="de-DE" sz="1400" strike="sngStrike" baseline="-25000" dirty="0">
                <a:solidFill>
                  <a:srgbClr val="000000"/>
                </a:solidFill>
              </a:rPr>
              <a:t>1</a:t>
            </a:r>
            <a:r>
              <a:rPr lang="de-DE" sz="1400" strike="sngStrike" dirty="0">
                <a:solidFill>
                  <a:srgbClr val="000000"/>
                </a:solidFill>
              </a:rPr>
              <a:t> &amp; r</a:t>
            </a:r>
            <a:r>
              <a:rPr lang="de-DE" sz="1400" strike="sngStrike" baseline="-25000" dirty="0">
                <a:solidFill>
                  <a:srgbClr val="000000"/>
                </a:solidFill>
              </a:rPr>
              <a:t>3</a:t>
            </a:r>
            <a:r>
              <a:rPr lang="de-DE" sz="1400" dirty="0">
                <a:solidFill>
                  <a:srgbClr val="000000"/>
                </a:solidFill>
              </a:rPr>
              <a:t> </a:t>
            </a:r>
            <a:endParaRPr lang="de-DE" sz="1400" strike="sngStrike" baseline="-25000" dirty="0" smtClean="0">
              <a:solidFill>
                <a:srgbClr val="000000"/>
              </a:solidFill>
              <a:latin typeface="DB Office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feld 10"/>
              <p:cNvSpPr txBox="1"/>
              <p:nvPr/>
            </p:nvSpPr>
            <p:spPr>
              <a:xfrm>
                <a:off x="303267" y="4725144"/>
                <a:ext cx="4640886" cy="21961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:r>
                  <a:rPr lang="de-DE" sz="1400" dirty="0" smtClean="0">
                    <a:solidFill>
                      <a:schemeClr val="accent2"/>
                    </a:solidFill>
                  </a:rPr>
                  <a:t>3.1 Makrokonflikte (auf Basis Fahrlagenvarianten):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400" i="1" kern="0">
                            <a:solidFill>
                              <a:schemeClr val="accent2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solidFill>
                              <a:schemeClr val="accent2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400" i="1" kern="0">
                            <a:solidFill>
                              <a:schemeClr val="accent2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i="1" kern="0">
                            <a:solidFill>
                              <a:schemeClr val="accent2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400" kern="0" dirty="0">
                    <a:solidFill>
                      <a:schemeClr val="accent2"/>
                    </a:solidFill>
                  </a:rPr>
                  <a:t> &amp;</a:t>
                </a:r>
                <a:r>
                  <a:rPr lang="de-DE" sz="1400" kern="0" dirty="0" smtClean="0">
                    <a:solidFill>
                      <a:schemeClr val="accent2"/>
                    </a:solidFill>
                  </a:rPr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400" i="1" kern="0">
                            <a:solidFill>
                              <a:schemeClr val="accent2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solidFill>
                              <a:schemeClr val="accent2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400" i="1" kern="0">
                            <a:solidFill>
                              <a:schemeClr val="accent2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i="1" kern="0">
                            <a:solidFill>
                              <a:schemeClr val="accent2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endParaRPr lang="de-DE" sz="1400" u="sng" baseline="-25000" dirty="0" smtClean="0">
                  <a:solidFill>
                    <a:schemeClr val="accent2"/>
                  </a:solidFill>
                  <a:latin typeface="DB Office"/>
                </a:endParaRPr>
              </a:p>
            </p:txBody>
          </p:sp>
        </mc:Choice>
        <mc:Fallback>
          <p:sp>
            <p:nvSpPr>
              <p:cNvPr id="11" name="Textfeld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3267" y="4725144"/>
                <a:ext cx="4640886" cy="219612"/>
              </a:xfrm>
              <a:prstGeom prst="rect">
                <a:avLst/>
              </a:prstGeom>
              <a:blipFill rotWithShape="1">
                <a:blip r:embed="rId2"/>
                <a:stretch>
                  <a:fillRect l="-2365" t="-19444" b="-50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12" name="Tabelle 11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637568232"/>
                  </p:ext>
                </p:extLst>
              </p:nvPr>
            </p:nvGraphicFramePr>
            <p:xfrm>
              <a:off x="317308" y="1678338"/>
              <a:ext cx="9025800" cy="2059497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1012233"/>
                    <a:gridCol w="1239364"/>
                    <a:gridCol w="1968402"/>
                    <a:gridCol w="2260017"/>
                    <a:gridCol w="1321647"/>
                    <a:gridCol w="1224137"/>
                  </a:tblGrid>
                  <a:tr h="353341">
                    <a:tc>
                      <a:txBody>
                        <a:bodyPr/>
                        <a:lstStyle/>
                        <a:p>
                          <a:r>
                            <a:rPr lang="de-DE" sz="1400" dirty="0" err="1" smtClean="0"/>
                            <a:t>Fahrlage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Partition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Fahrlagenvariante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Verkehrstages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Gefunden (Wegesuche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Nutzbar (SAT)</a:t>
                          </a:r>
                          <a:endParaRPr lang="de-DE" sz="1400" dirty="0"/>
                        </a:p>
                      </a:txBody>
                      <a:tcPr anchor="ctr"/>
                    </a:tc>
                  </a:tr>
                  <a:tr h="2171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r</a:t>
                          </a:r>
                          <a:r>
                            <a:rPr lang="de-DE" sz="1400" baseline="-25000" dirty="0" smtClean="0"/>
                            <a:t>1</a:t>
                          </a:r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(1,1,1,1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  <a:endParaRPr lang="de-DE" sz="14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217120">
                    <a:tc>
                      <a:txBody>
                        <a:bodyPr/>
                        <a:lstStyle/>
                        <a:p>
                          <a:pPr algn="ctr"/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(1,1,0,0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1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}</a:t>
                          </a:r>
                          <a:endParaRPr lang="de-DE" sz="1400" b="1" dirty="0" smtClean="0"/>
                        </a:p>
                      </a:txBody>
                      <a:tcPr anchor="ctr"/>
                    </a:tc>
                  </a:tr>
                  <a:tr h="217120">
                    <a:tc>
                      <a:txBody>
                        <a:bodyPr/>
                        <a:lstStyle/>
                        <a:p>
                          <a:pPr algn="ctr"/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(0,0,1,1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}</a:t>
                          </a:r>
                          <a:endParaRPr lang="de-DE" sz="1400" b="1" dirty="0" smtClean="0"/>
                        </a:p>
                      </a:txBody>
                      <a:tcPr anchor="ctr"/>
                    </a:tc>
                  </a:tr>
                  <a:tr h="2171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r</a:t>
                          </a:r>
                          <a:r>
                            <a:rPr lang="de-DE" sz="1400" baseline="-25000" dirty="0" smtClean="0"/>
                            <a:t>2</a:t>
                          </a:r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(1,1,0,0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1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1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2171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r</a:t>
                          </a:r>
                          <a:r>
                            <a:rPr lang="de-DE" sz="1400" baseline="-25000" dirty="0" smtClean="0"/>
                            <a:t>3</a:t>
                          </a:r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4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(0,0,0,1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>
          <p:graphicFrame>
            <p:nvGraphicFramePr>
              <p:cNvPr id="12" name="Tabelle 11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637568232"/>
                  </p:ext>
                </p:extLst>
              </p:nvPr>
            </p:nvGraphicFramePr>
            <p:xfrm>
              <a:off x="317308" y="1678338"/>
              <a:ext cx="9025800" cy="2059497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1012233"/>
                    <a:gridCol w="1239364"/>
                    <a:gridCol w="1968402"/>
                    <a:gridCol w="2260017"/>
                    <a:gridCol w="1321647"/>
                    <a:gridCol w="1224137"/>
                  </a:tblGrid>
                  <a:tr h="518160">
                    <a:tc>
                      <a:txBody>
                        <a:bodyPr/>
                        <a:lstStyle/>
                        <a:p>
                          <a:r>
                            <a:rPr lang="de-DE" sz="1400" dirty="0" err="1" smtClean="0"/>
                            <a:t>Fahrlage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Partition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Fahrlagenvariante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Verkehrstages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Gefunden (Wegesuche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400" dirty="0" smtClean="0"/>
                            <a:t>Nutzbar (SAT)</a:t>
                          </a:r>
                          <a:endParaRPr lang="de-DE" sz="1400" dirty="0"/>
                        </a:p>
                      </a:txBody>
                      <a:tcPr anchor="ctr"/>
                    </a:tc>
                  </a:tr>
                  <a:tr h="30848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r</a:t>
                          </a:r>
                          <a:r>
                            <a:rPr lang="de-DE" sz="1400" baseline="-25000" dirty="0" smtClean="0"/>
                            <a:t>1</a:t>
                          </a:r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3"/>
                          <a:stretch>
                            <a:fillRect l="-81773" t="-168627" r="-547783" b="-41568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3"/>
                          <a:stretch>
                            <a:fillRect l="-114241" t="-168627" r="-244272" b="-41568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(1,1,1,1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  <a:endParaRPr lang="de-DE" sz="14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306769">
                    <a:tc>
                      <a:txBody>
                        <a:bodyPr/>
                        <a:lstStyle/>
                        <a:p>
                          <a:pPr algn="ctr"/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3"/>
                          <a:stretch>
                            <a:fillRect l="-81773" t="-274000" r="-547783" b="-324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3"/>
                          <a:stretch>
                            <a:fillRect l="-114241" t="-274000" r="-244272" b="-324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(1,1,0,0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1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}</a:t>
                          </a:r>
                          <a:endParaRPr lang="de-DE" sz="1400" b="1" dirty="0" smtClean="0"/>
                        </a:p>
                      </a:txBody>
                      <a:tcPr anchor="ctr"/>
                    </a:tc>
                  </a:tr>
                  <a:tr h="307150">
                    <a:tc>
                      <a:txBody>
                        <a:bodyPr/>
                        <a:lstStyle/>
                        <a:p>
                          <a:pPr algn="ctr"/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3"/>
                          <a:stretch>
                            <a:fillRect l="-114241" t="-374000" r="-244272" b="-224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dirty="0" smtClean="0"/>
                            <a:t>(0,0,1,1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}</a:t>
                          </a:r>
                          <a:endParaRPr lang="de-DE" sz="1400" b="1" dirty="0" smtClean="0"/>
                        </a:p>
                      </a:txBody>
                      <a:tcPr anchor="ctr"/>
                    </a:tc>
                  </a:tr>
                  <a:tr h="308928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r</a:t>
                          </a:r>
                          <a:r>
                            <a:rPr lang="de-DE" sz="1400" baseline="-25000" dirty="0" smtClean="0"/>
                            <a:t>2</a:t>
                          </a:r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3"/>
                          <a:stretch>
                            <a:fillRect l="-81773" t="-464706" r="-547783" b="-11960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3"/>
                          <a:stretch>
                            <a:fillRect l="-114241" t="-464706" r="-244272" b="-11960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(1,1,0,0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1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1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310007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r</a:t>
                          </a:r>
                          <a:r>
                            <a:rPr lang="de-DE" sz="1400" baseline="-25000" dirty="0" smtClean="0"/>
                            <a:t>3</a:t>
                          </a:r>
                          <a:endParaRPr lang="de-DE" sz="14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3"/>
                          <a:stretch>
                            <a:fillRect l="-81773" t="-564706" r="-547783" b="-1960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3"/>
                          <a:stretch>
                            <a:fillRect l="-114241" t="-564706" r="-244272" b="-1960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dirty="0" smtClean="0"/>
                            <a:t>(0,0,0,1)</a:t>
                          </a:r>
                          <a:endParaRPr lang="de-DE" sz="14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1" dirty="0" smtClean="0"/>
                            <a:t>{s</a:t>
                          </a:r>
                          <a:r>
                            <a:rPr lang="de-DE" sz="1400" b="1" baseline="-25000" dirty="0" smtClean="0"/>
                            <a:t>2</a:t>
                          </a:r>
                          <a:r>
                            <a:rPr lang="de-DE" sz="1400" b="1" dirty="0" smtClean="0"/>
                            <a:t>,s</a:t>
                          </a:r>
                          <a:r>
                            <a:rPr lang="de-DE" sz="1400" b="1" baseline="-25000" dirty="0" smtClean="0"/>
                            <a:t>3</a:t>
                          </a:r>
                          <a:r>
                            <a:rPr lang="de-DE" sz="14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Fallback>
      </mc:AlternateContent>
      <p:sp>
        <p:nvSpPr>
          <p:cNvPr id="13" name="Textfeld 12"/>
          <p:cNvSpPr txBox="1"/>
          <p:nvPr/>
        </p:nvSpPr>
        <p:spPr>
          <a:xfrm>
            <a:off x="303267" y="5079739"/>
            <a:ext cx="155010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>
                <a:solidFill>
                  <a:srgbClr val="000000"/>
                </a:solidFill>
                <a:latin typeface="DB Office"/>
              </a:rPr>
              <a:t>4</a:t>
            </a: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. Mikrokonflikte: s</a:t>
            </a:r>
            <a:r>
              <a:rPr lang="de-DE" sz="1400" baseline="-25000" dirty="0" smtClean="0">
                <a:solidFill>
                  <a:srgbClr val="000000"/>
                </a:solidFill>
                <a:latin typeface="DB Office"/>
              </a:rPr>
              <a:t>3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303267" y="5445804"/>
            <a:ext cx="601550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5. Konfliktzeitpunkt: (1,1,1,1) AND (1,1,0,0) </a:t>
            </a:r>
            <a:r>
              <a:rPr lang="de-DE" sz="1400" dirty="0" smtClean="0">
                <a:solidFill>
                  <a:srgbClr val="000000"/>
                </a:solidFill>
                <a:latin typeface="DB Office"/>
                <a:sym typeface="Wingdings" panose="05000000000000000000" pitchFamily="2" charset="2"/>
              </a:rPr>
              <a:t> </a:t>
            </a:r>
            <a:r>
              <a:rPr lang="de-DE" sz="1400" dirty="0" smtClean="0">
                <a:solidFill>
                  <a:srgbClr val="000000"/>
                </a:solidFill>
              </a:rPr>
              <a:t>s</a:t>
            </a:r>
            <a:r>
              <a:rPr lang="de-DE" sz="1400" baseline="-25000" dirty="0" smtClean="0">
                <a:solidFill>
                  <a:srgbClr val="000000"/>
                </a:solidFill>
              </a:rPr>
              <a:t>3</a:t>
            </a:r>
            <a:r>
              <a:rPr lang="de-DE" sz="1400" dirty="0" smtClean="0">
                <a:solidFill>
                  <a:srgbClr val="000000"/>
                </a:solidFill>
              </a:rPr>
              <a:t> </a:t>
            </a:r>
            <a:r>
              <a:rPr lang="de-DE" sz="1400" dirty="0" smtClean="0">
                <a:solidFill>
                  <a:srgbClr val="000000"/>
                </a:solidFill>
                <a:latin typeface="DB Office"/>
                <a:sym typeface="Wingdings" panose="05000000000000000000" pitchFamily="2" charset="2"/>
              </a:rPr>
              <a:t>(1,1,0,0) sperren</a:t>
            </a: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 </a:t>
            </a:r>
            <a:endParaRPr lang="de-DE" sz="1400" baseline="-25000" dirty="0" smtClean="0">
              <a:solidFill>
                <a:srgbClr val="000000"/>
              </a:solidFill>
              <a:latin typeface="DB Office"/>
            </a:endParaRPr>
          </a:p>
        </p:txBody>
      </p:sp>
      <p:sp>
        <p:nvSpPr>
          <p:cNvPr id="15" name="Rechteck 14"/>
          <p:cNvSpPr/>
          <p:nvPr/>
        </p:nvSpPr>
        <p:spPr bwMode="auto">
          <a:xfrm rot="20366072">
            <a:off x="6773884" y="4416738"/>
            <a:ext cx="2448272" cy="575484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Mit Makrokonflikt auf Ebene Fahrlagenvariante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Rechteck 5"/>
              <p:cNvSpPr/>
              <p:nvPr/>
            </p:nvSpPr>
            <p:spPr bwMode="auto">
              <a:xfrm>
                <a:off x="414115" y="5778368"/>
                <a:ext cx="8831106" cy="746976"/>
              </a:xfrm>
              <a:prstGeom prst="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0" lang="de-DE" sz="1300" b="0" i="0" u="none" strike="noStrike" cap="none" normalizeH="0" baseline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DB Office" pitchFamily="34" charset="0"/>
                  </a:rPr>
                  <a:t>Problem: Es ist nicht gewährleistet,</a:t>
                </a:r>
                <a:r>
                  <a:rPr kumimoji="0" lang="de-DE" sz="1300" b="0" i="0" u="none" strike="noStrike" cap="none" normalizeH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DB Office" pitchFamily="34" charset="0"/>
                  </a:rPr>
                  <a:t> dass der „richtige“ Konflikt zwischen den Fahrlagenvarianten gefunden wird (Idealfall: Finde Konflikt zwischen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300" i="1" kern="0">
                            <a:solidFill>
                              <a:schemeClr val="bg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300" i="1" kern="0">
                            <a:solidFill>
                              <a:schemeClr val="bg1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300" i="1" kern="0">
                            <a:solidFill>
                              <a:schemeClr val="bg1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300" i="1" kern="0">
                            <a:solidFill>
                              <a:schemeClr val="bg1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kumimoji="0" lang="de-DE" sz="1300" b="0" i="0" u="none" strike="noStrike" cap="none" normalizeH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DB Office" pitchFamily="34" charset="0"/>
                  </a:rPr>
                  <a:t> u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300" i="1" kern="0">
                            <a:solidFill>
                              <a:schemeClr val="bg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300" i="1" kern="0">
                            <a:solidFill>
                              <a:schemeClr val="bg1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300" b="0" i="1" kern="0" smtClean="0">
                            <a:solidFill>
                              <a:schemeClr val="bg1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300" b="0" i="1" kern="0" smtClean="0">
                            <a:solidFill>
                              <a:schemeClr val="bg1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kumimoji="0" lang="de-DE" sz="1300" b="0" i="0" u="none" strike="noStrike" cap="none" normalizeH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DB Office" pitchFamily="34" charset="0"/>
                  </a:rPr>
                  <a:t> und teile Systemtrasse) </a:t>
                </a:r>
                <a:r>
                  <a:rPr kumimoji="0" lang="de-DE" sz="1300" b="0" i="0" u="none" strike="noStrike" cap="none" normalizeH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DB Office" pitchFamily="34" charset="0"/>
                    <a:sym typeface="Wingdings" panose="05000000000000000000" pitchFamily="2" charset="2"/>
                  </a:rPr>
                  <a:t> Idee: Lege alle FLG-Varianten der im Konflikt stehenden FLG auf </a:t>
                </a:r>
                <a:r>
                  <a:rPr kumimoji="0" lang="de-DE" sz="1300" b="0" i="0" u="none" strike="noStrike" cap="none" normalizeH="0" dirty="0" err="1" smtClean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DB Office" pitchFamily="34" charset="0"/>
                    <a:sym typeface="Wingdings" panose="05000000000000000000" pitchFamily="2" charset="2"/>
                  </a:rPr>
                  <a:t>konfliktäre</a:t>
                </a:r>
                <a:r>
                  <a:rPr kumimoji="0" lang="de-DE" sz="1300" b="0" i="0" u="none" strike="noStrike" cap="none" normalizeH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DB Office" pitchFamily="34" charset="0"/>
                    <a:sym typeface="Wingdings" panose="05000000000000000000" pitchFamily="2" charset="2"/>
                  </a:rPr>
                  <a:t> Systemtrasse und teile Systemtrasse an Start-/Endpunkten der FLG-Varianten </a:t>
                </a:r>
                <a:endParaRPr kumimoji="0" lang="de-DE" sz="13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DB Office" pitchFamily="34" charset="0"/>
                </a:endParaRPr>
              </a:p>
            </p:txBody>
          </p:sp>
        </mc:Choice>
        <mc:Fallback>
          <p:sp>
            <p:nvSpPr>
              <p:cNvPr id="6" name="Rechteck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14115" y="5778368"/>
                <a:ext cx="8831106" cy="746976"/>
              </a:xfrm>
              <a:prstGeom prst="rect">
                <a:avLst/>
              </a:prstGeom>
              <a:blipFill rotWithShape="1">
                <a:blip r:embed="rId4"/>
                <a:stretch>
                  <a:fillRect b="-4098"/>
                </a:stretch>
              </a:blip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84364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RITE-PROTECTED" val="false"/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89999999999999990000E+000&quot;&gt;&lt;m_msothmcolidx val=&quot;0&quot;/&gt;&lt;m_rgb r=&quot;C8&quot; g=&quot;C8&quot; b=&quot;CD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SHOWAGENDASLIDENUMBER" val="no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 Master 2016">
  <a:themeElements>
    <a:clrScheme name="DB_rot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DD2"/>
      </a:accent1>
      <a:accent2>
        <a:srgbClr val="FF0000"/>
      </a:accent2>
      <a:accent3>
        <a:srgbClr val="E1E6EB"/>
      </a:accent3>
      <a:accent4>
        <a:srgbClr val="C8CDD2"/>
      </a:accent4>
      <a:accent5>
        <a:srgbClr val="646973"/>
      </a:accent5>
      <a:accent6>
        <a:srgbClr val="E1E6EB"/>
      </a:accent6>
      <a:hlink>
        <a:srgbClr val="646973"/>
      </a:hlink>
      <a:folHlink>
        <a:srgbClr val="C8CDD2"/>
      </a:folHlink>
    </a:clrScheme>
    <a:fontScheme name="DB_2010">
      <a:majorFont>
        <a:latin typeface="DB Office"/>
        <a:ea typeface=""/>
        <a:cs typeface=""/>
      </a:majorFont>
      <a:minorFont>
        <a:latin typeface="DB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878C9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rgbClr val="FFFFFF"/>
            </a:solidFill>
            <a:effectLst/>
            <a:latin typeface="DB Office" pitchFamily="34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rgbClr val="878C96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600"/>
          </a:spcBef>
          <a:buClr>
            <a:srgbClr val="FF0000"/>
          </a:buClr>
          <a:buSzPct val="85000"/>
          <a:defRPr sz="1400" dirty="0" err="1" smtClean="0">
            <a:solidFill>
              <a:srgbClr val="000000"/>
            </a:solidFill>
            <a:latin typeface="DB Office"/>
          </a:defRPr>
        </a:defPPr>
      </a:lstStyle>
    </a:txDef>
  </a:objectDefaults>
  <a:extraClrSchemeLst/>
  <a:custClrLst>
    <a:custClr name="DB Rot">
      <a:srgbClr val="FF0000"/>
    </a:custClr>
    <a:custClr name="DB Blau">
      <a:srgbClr val="000066"/>
    </a:custClr>
    <a:custClr name="DB Grau">
      <a:srgbClr val="878C96"/>
    </a:custClr>
    <a:custClr name="Signalblau">
      <a:srgbClr val="004BB4"/>
    </a:custClr>
    <a:custClr name="Verkehrsblau">
      <a:srgbClr val="055573"/>
    </a:custClr>
    <a:custClr name="Opalgrün">
      <a:srgbClr val="286969"/>
    </a:custClr>
    <a:custClr name="Türkisgrün">
      <a:srgbClr val="286E46"/>
    </a:custClr>
    <a:custClr name="Grasgrün">
      <a:srgbClr val="00AA00"/>
    </a:custClr>
    <a:custClr name="Gelbgrün">
      <a:srgbClr val="8CB90F"/>
    </a:custClr>
    <a:custClr name="S-Bahn Grün (Sonderstatus)">
      <a:srgbClr val="408335"/>
    </a:custClr>
    <a:custClr name="Gelb">
      <a:srgbClr val="F0CD0A"/>
    </a:custClr>
    <a:custClr name="Sonnengelb">
      <a:srgbClr val="FFAF00"/>
    </a:custClr>
    <a:custClr name="Verkehrsorange">
      <a:srgbClr val="E67800"/>
    </a:custClr>
    <a:custClr name="Orangebraun">
      <a:srgbClr val="8C5A00"/>
    </a:custClr>
    <a:custClr name="Rubinrot">
      <a:srgbClr val="962832"/>
    </a:custClr>
    <a:custClr name="Purpurviolett">
      <a:srgbClr val="4D186E"/>
    </a:custClr>
    <a:custClr name="Gelb (Pastell)">
      <a:srgbClr val="FDF6B1"/>
    </a:custClr>
    <a:custClr name="Verkehrsorange (Pastell)">
      <a:srgbClr val="FCB76C"/>
    </a:custClr>
    <a:custClr name="Signalblau (Pastell)">
      <a:srgbClr val="BBCAEA"/>
    </a:custClr>
    <a:custClr name="Gelbgrün (Pastell)">
      <a:srgbClr val="DDEDB1"/>
    </a:custClr>
    <a:custClr name="Grau Stufe 1">
      <a:srgbClr val="E6E6E6"/>
    </a:custClr>
    <a:custClr name="Grau Stufe 2">
      <a:srgbClr val="CDCDCD"/>
    </a:custClr>
    <a:custClr name="Grau Stufe 3">
      <a:srgbClr val="B4B4B4"/>
    </a:custClr>
    <a:custClr name="Grau Stufe 4">
      <a:srgbClr val="9A9A9A"/>
    </a:custClr>
    <a:custClr name="Grau Stufe 5">
      <a:srgbClr val="818181"/>
    </a:custClr>
    <a:custClr name="Grau Stufe 6">
      <a:srgbClr val="666666"/>
    </a:custClr>
    <a:custClr name="Grau Stufe 7">
      <a:srgbClr val="4B4B4B"/>
    </a:custClr>
    <a:custClr name="Grau Stufe 8">
      <a:srgbClr val="303030"/>
    </a:custClr>
  </a:custClrLst>
</a:theme>
</file>

<file path=ppt/theme/theme2.xml><?xml version="1.0" encoding="utf-8"?>
<a:theme xmlns:a="http://schemas.openxmlformats.org/drawingml/2006/main" name="Larissa">
  <a:themeElements>
    <a:clrScheme name="DB_Farben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8CD"/>
      </a:accent1>
      <a:accent2>
        <a:srgbClr val="000066"/>
      </a:accent2>
      <a:accent3>
        <a:srgbClr val="FFFFFF"/>
      </a:accent3>
      <a:accent4>
        <a:srgbClr val="000000"/>
      </a:accent4>
      <a:accent5>
        <a:srgbClr val="E0E0E3"/>
      </a:accent5>
      <a:accent6>
        <a:srgbClr val="00005C"/>
      </a:accent6>
      <a:hlink>
        <a:srgbClr val="004BB4"/>
      </a:hlink>
      <a:folHlink>
        <a:srgbClr val="D7DEE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53BE11D3B47B245B92306F14411FD34" ma:contentTypeVersion="" ma:contentTypeDescription="Ein neues Dokument erstellen." ma:contentTypeScope="" ma:versionID="dc526863fe3219376e2ba58c5516399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9b5d665fb7f3700c23109c90d09976c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9170C09-4194-4941-9C65-4A65AB851960}">
  <ds:schemaRefs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A73CFC4-9625-4950-815D-B271DD2FC5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5BC043D-0EA7-4A5C-A1E5-C2C6119FC88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19</Words>
  <Application>Microsoft Office PowerPoint</Application>
  <PresentationFormat>Benutzerdefiniert</PresentationFormat>
  <Paragraphs>185</Paragraphs>
  <Slides>4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6" baseType="lpstr">
      <vt:lpstr>GS Master 2016</vt:lpstr>
      <vt:lpstr>think-cell Folie</vt:lpstr>
      <vt:lpstr>Rechenbeispiel SAT-ganzjährig (1/4)</vt:lpstr>
      <vt:lpstr>Rechenbeispiel SAT-ganzjährig (2/4)</vt:lpstr>
      <vt:lpstr>Rechenbeispiel SAT-ganzjährig (3/4)</vt:lpstr>
      <vt:lpstr>Rechenbeispiel SAT-ganzjährig (4/4)</vt:lpstr>
    </vt:vector>
  </TitlesOfParts>
  <Company>Deutsche Bah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</dc:title>
  <dc:creator>emredemirpolat</dc:creator>
  <cp:lastModifiedBy>Breun, Patrick</cp:lastModifiedBy>
  <cp:revision>318</cp:revision>
  <cp:lastPrinted>2018-01-10T08:34:24Z</cp:lastPrinted>
  <dcterms:created xsi:type="dcterms:W3CDTF">2012-01-18T08:58:54Z</dcterms:created>
  <dcterms:modified xsi:type="dcterms:W3CDTF">2018-01-10T16:25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53BE11D3B47B245B92306F14411FD34</vt:lpwstr>
  </property>
</Properties>
</file>